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94" r:id="rId2"/>
    <p:sldId id="299" r:id="rId3"/>
    <p:sldId id="309" r:id="rId4"/>
    <p:sldId id="301" r:id="rId5"/>
    <p:sldId id="302" r:id="rId6"/>
    <p:sldId id="303" r:id="rId7"/>
    <p:sldId id="304" r:id="rId8"/>
    <p:sldId id="305" r:id="rId9"/>
    <p:sldId id="306" r:id="rId10"/>
    <p:sldId id="311" r:id="rId11"/>
    <p:sldId id="312" r:id="rId12"/>
    <p:sldId id="313" r:id="rId13"/>
    <p:sldId id="310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951F"/>
    <a:srgbClr val="436315"/>
    <a:srgbClr val="86BC25"/>
    <a:srgbClr val="6E9E1F"/>
    <a:srgbClr val="A2E72E"/>
    <a:srgbClr val="F3BE21"/>
    <a:srgbClr val="7BA681"/>
    <a:srgbClr val="28402F"/>
    <a:srgbClr val="FF58D4"/>
    <a:srgbClr val="F4AD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67" autoAdjust="0"/>
    <p:restoredTop sz="94934" autoAdjust="0"/>
  </p:normalViewPr>
  <p:slideViewPr>
    <p:cSldViewPr snapToGrid="0" showGuides="1">
      <p:cViewPr varScale="1">
        <p:scale>
          <a:sx n="105" d="100"/>
          <a:sy n="105" d="100"/>
        </p:scale>
        <p:origin x="966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B8-4821-AAE7-1C154D63C26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B8-4821-AAE7-1C154D63C2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61012624"/>
        <c:axId val="100391054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3B8-4821-AAE7-1C154D63C2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1012624"/>
        <c:axId val="1003910544"/>
      </c:lineChart>
      <c:catAx>
        <c:axId val="961012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003910544"/>
        <c:crosses val="autoZero"/>
        <c:auto val="1"/>
        <c:lblAlgn val="ctr"/>
        <c:lblOffset val="100"/>
        <c:noMultiLvlLbl val="0"/>
      </c:catAx>
      <c:valAx>
        <c:axId val="100391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961012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B56-4BF9-9124-EFB8D8EB7901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B56-4BF9-9124-EFB8D8EB790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56-4BF9-9124-EFB8D8EB79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B56-4BF9-9124-EFB8D8EB7901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7E-4242-A9AA-AAFBAB4682E2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56-4BF9-9124-EFB8D8EB79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B56-4BF9-9124-EFB8D8EB7901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7E-4242-A9AA-AAFBAB4682E2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56-4BF9-9124-EFB8D8EB79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2FADE-C6AB-4765-AB22-74EE1FC26D60}" type="datetime1">
              <a:rPr lang="en-ID" smtClean="0"/>
              <a:t>18/11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Nº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FB15F4-625F-497D-BCA7-BD8E44F22A44}" type="datetime1">
              <a:rPr lang="en-ID" smtClean="0"/>
              <a:t>18/11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Nº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owomen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-consultant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bantersnaps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eeting?utm_source=unsplash&amp;utm_medium=referral&amp;utm_content=creditCopyText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harles_forerunner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thecoachspace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woman-doing-a-presentation-2977547/?utm_content=attributionCopyText&amp;utm_medium=referral&amp;utm_source=pexel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ctgrhm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professional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owomen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nsultant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ustindistel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nsultant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ariogogh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eeting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ivadotme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eeting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goumbik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data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ctgrhm?utm_source=unsplash&amp;utm_medium=referral&amp;utm_content=creditCopyText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eeting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oWome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49573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bantersnap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235347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harle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Forerunner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3113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he Coach Space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3369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cott Graha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981287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CoWome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14697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ustin </a:t>
            </a:r>
            <a:r>
              <a:rPr lang="en-US" dirty="0" err="1">
                <a:hlinkClick r:id="rId3"/>
              </a:rPr>
              <a:t>Distel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613963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Mario Gogh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49658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hiva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sharifi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407431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Lukas Blazek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756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cott Graha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85093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1D26D96-3156-2848-AB33-A9008AE2C557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A84C1F-30EF-3C4C-8967-A6865E8EB0C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1E0FD78-D048-D14B-A2E4-6F25A7EFF0B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2F9B1180-7809-2943-B3EC-F4893DF8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44EC518-7F56-445E-BDCE-430F0606D7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7959934-2835-AE43-91EB-3C6E5C77E231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2D9F5A-FE11-E746-855D-AC2B7AA10458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32AED00-603F-E445-A23C-8C7DC1BA8DE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857818A7-A482-8045-892D-2A6EBE31C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60E7C96-C046-41EB-986A-65DADF9E88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1E7E851-7B1F-5B41-A538-D8C96A6243C4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4B31ED-59E1-3B48-A990-8369105A380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46F576-47E3-1443-BA29-3F7CA369F9DA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C53208E-2781-FF47-9832-DD5197DC4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E184F9E-D229-42AC-B4B6-4DCBF9424E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599E37B-8FC5-0742-89FE-ACCBE1136F61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5DDC8A9-1DD4-EC44-8F7A-85F58B794F01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07334D0-D23C-B74C-8AB6-2D325160C63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ADCAAA5-1607-8440-AAFD-0D661E596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1B7116-2A8E-4BFA-A433-BB14A7986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B5F6394-DF9E-DB41-B2E0-8A4E1F481E7B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80A44A-0BBC-2244-BFF4-AC83777F9144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F400D30-4739-DB4D-8EC5-8E0ECE9BFF5E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F6A48583-5C8A-A643-989B-307723716C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7E64894-46B9-4752-8B83-9DD7B148EA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5F1ED6E-A873-9042-A44A-C7F177FC672B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3AACF9-2286-E04C-AEF9-921404973FC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F158E91-3963-B94C-81C3-90D561A16DC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7CC10119-76F8-D645-8BFC-6F99E08572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E9A169-F9C7-46D5-9988-A7F87BFBB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3D185FA-9EC1-D04D-A76A-2570C478DF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41AC1C2-7B26-48A2-B6CA-246EE22EFC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53190A20-3C04-DC4E-A880-61B87B2EC187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5C449-D20B-064B-9BC3-66C4F03460ED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60215C1-CA65-5A4A-9318-B0F0D84DEA1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51116461-0D22-4840-909B-36241F117F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3CCA7B-D4C6-4F0D-8944-CD952C8796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F1AA91A-8BDA-0448-804D-55BE2B24CDE9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C91EE4-107C-7844-9E67-F49992CCB1DA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752A424-560A-E643-92A0-AD492D88461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3C5C263B-0737-F945-8FB7-56A8C94717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55BF172-CA75-4405-BB87-7557CB58BE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6A468B-75FD-447C-A98D-924DA44CAD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0207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ECB9EA-7CB4-48FC-95B4-2F138DEA56F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jp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8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F86910-73AD-2742-8CCF-E5783893E92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14">
            <a:extLst>
              <a:ext uri="{FF2B5EF4-FFF2-40B4-BE49-F238E27FC236}">
                <a16:creationId xmlns:a16="http://schemas.microsoft.com/office/drawing/2014/main" id="{0A2F1384-0B8B-194B-A1FD-B054DA070A1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295400 h 6858000"/>
              <a:gd name="connsiteX3" fmla="*/ 5875903 w 12192000"/>
              <a:gd name="connsiteY3" fmla="*/ 1295400 h 6858000"/>
              <a:gd name="connsiteX4" fmla="*/ 5486401 w 12192000"/>
              <a:gd name="connsiteY4" fmla="*/ 1625596 h 6858000"/>
              <a:gd name="connsiteX5" fmla="*/ 5486401 w 12192000"/>
              <a:gd name="connsiteY5" fmla="*/ 5232404 h 6858000"/>
              <a:gd name="connsiteX6" fmla="*/ 5875903 w 12192000"/>
              <a:gd name="connsiteY6" fmla="*/ 5562600 h 6858000"/>
              <a:gd name="connsiteX7" fmla="*/ 12192000 w 12192000"/>
              <a:gd name="connsiteY7" fmla="*/ 5562600 h 6858000"/>
              <a:gd name="connsiteX8" fmla="*/ 12192000 w 12192000"/>
              <a:gd name="connsiteY8" fmla="*/ 6858000 h 6858000"/>
              <a:gd name="connsiteX9" fmla="*/ 0 w 12192000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295400"/>
                </a:lnTo>
                <a:lnTo>
                  <a:pt x="5875903" y="1295400"/>
                </a:lnTo>
                <a:cubicBezTo>
                  <a:pt x="5660787" y="1295400"/>
                  <a:pt x="5486401" y="1443234"/>
                  <a:pt x="5486401" y="1625596"/>
                </a:cubicBezTo>
                <a:lnTo>
                  <a:pt x="5486401" y="5232404"/>
                </a:lnTo>
                <a:cubicBezTo>
                  <a:pt x="5486401" y="5414766"/>
                  <a:pt x="5660787" y="5562600"/>
                  <a:pt x="5875903" y="5562600"/>
                </a:cubicBezTo>
                <a:lnTo>
                  <a:pt x="12192000" y="556260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75E6A0D7-B889-6243-A943-14CCCE37CA1A}"/>
              </a:ext>
            </a:extLst>
          </p:cNvPr>
          <p:cNvSpPr/>
          <p:nvPr/>
        </p:nvSpPr>
        <p:spPr>
          <a:xfrm>
            <a:off x="5486400" y="1295400"/>
            <a:ext cx="6705599" cy="4267200"/>
          </a:xfrm>
          <a:custGeom>
            <a:avLst/>
            <a:gdLst>
              <a:gd name="connsiteX0" fmla="*/ 330196 w 5684604"/>
              <a:gd name="connsiteY0" fmla="*/ 0 h 4267200"/>
              <a:gd name="connsiteX1" fmla="*/ 5684604 w 5684604"/>
              <a:gd name="connsiteY1" fmla="*/ 0 h 4267200"/>
              <a:gd name="connsiteX2" fmla="*/ 5684604 w 5684604"/>
              <a:gd name="connsiteY2" fmla="*/ 4267200 h 4267200"/>
              <a:gd name="connsiteX3" fmla="*/ 330196 w 5684604"/>
              <a:gd name="connsiteY3" fmla="*/ 4267200 h 4267200"/>
              <a:gd name="connsiteX4" fmla="*/ 0 w 5684604"/>
              <a:gd name="connsiteY4" fmla="*/ 3937004 h 4267200"/>
              <a:gd name="connsiteX5" fmla="*/ 0 w 5684604"/>
              <a:gd name="connsiteY5" fmla="*/ 330196 h 4267200"/>
              <a:gd name="connsiteX6" fmla="*/ 330196 w 5684604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84604" h="4267200">
                <a:moveTo>
                  <a:pt x="330196" y="0"/>
                </a:moveTo>
                <a:lnTo>
                  <a:pt x="5684604" y="0"/>
                </a:lnTo>
                <a:lnTo>
                  <a:pt x="5684604" y="4267200"/>
                </a:lnTo>
                <a:lnTo>
                  <a:pt x="330196" y="4267200"/>
                </a:lnTo>
                <a:cubicBezTo>
                  <a:pt x="147834" y="4267200"/>
                  <a:pt x="0" y="4119366"/>
                  <a:pt x="0" y="3937004"/>
                </a:cubicBezTo>
                <a:lnTo>
                  <a:pt x="0" y="330196"/>
                </a:lnTo>
                <a:cubicBezTo>
                  <a:pt x="0" y="147834"/>
                  <a:pt x="147834" y="0"/>
                  <a:pt x="330196" y="0"/>
                </a:cubicBezTo>
                <a:close/>
              </a:path>
            </a:pathLst>
          </a:custGeom>
          <a:gradFill flip="none" rotWithShape="1">
            <a:gsLst>
              <a:gs pos="0">
                <a:srgbClr val="A2E72E">
                  <a:alpha val="84000"/>
                </a:srgbClr>
              </a:gs>
              <a:gs pos="100000">
                <a:srgbClr val="86BC2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26A7C4-D736-C04D-B468-566F60DB4360}"/>
              </a:ext>
            </a:extLst>
          </p:cNvPr>
          <p:cNvSpPr txBox="1"/>
          <p:nvPr/>
        </p:nvSpPr>
        <p:spPr>
          <a:xfrm>
            <a:off x="6096000" y="1888891"/>
            <a:ext cx="5734134" cy="76944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br>
              <a:rPr lang="es-ES" sz="3200" dirty="0">
                <a:solidFill>
                  <a:schemeClr val="bg1"/>
                </a:solidFill>
              </a:rPr>
            </a:br>
            <a:r>
              <a:rPr lang="es-ES" dirty="0">
                <a:solidFill>
                  <a:schemeClr val="bg1"/>
                </a:solidFill>
              </a:rPr>
              <a:t>EVALUACIÓN DEL </a:t>
            </a:r>
            <a:r>
              <a:rPr lang="es-ES" sz="1600" dirty="0">
                <a:solidFill>
                  <a:schemeClr val="bg1"/>
                </a:solidFill>
              </a:rPr>
              <a:t>DESARROLLO DE CAPACIDADES EN LA EMPRESA I</a:t>
            </a:r>
            <a:endParaRPr lang="en-US" sz="6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7256E26-6D99-9C48-9294-087B870E6362}"/>
              </a:ext>
            </a:extLst>
          </p:cNvPr>
          <p:cNvCxnSpPr>
            <a:cxnSpLocks/>
          </p:cNvCxnSpPr>
          <p:nvPr/>
        </p:nvCxnSpPr>
        <p:spPr>
          <a:xfrm flipH="1">
            <a:off x="3791415" y="4232473"/>
            <a:ext cx="8400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71BD040C-FD16-C542-8D50-26395D4EBF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9844" y="4707723"/>
            <a:ext cx="1819354" cy="34490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4CCABB1-C14F-C04E-BB1E-B35C97C41183}"/>
              </a:ext>
            </a:extLst>
          </p:cNvPr>
          <p:cNvSpPr txBox="1"/>
          <p:nvPr/>
        </p:nvSpPr>
        <p:spPr>
          <a:xfrm>
            <a:off x="1201465" y="4109362"/>
            <a:ext cx="186531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José María Fernández</a:t>
            </a:r>
          </a:p>
          <a:p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Q.A. Intern, Deloitte</a:t>
            </a: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CE625206-8F7B-43A8-7C71-18B7D866A49E}"/>
              </a:ext>
            </a:extLst>
          </p:cNvPr>
          <p:cNvSpPr/>
          <p:nvPr/>
        </p:nvSpPr>
        <p:spPr>
          <a:xfrm>
            <a:off x="1495917" y="1950089"/>
            <a:ext cx="615015" cy="548852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881682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ct 68" hidden="1">
            <a:extLst>
              <a:ext uri="{FF2B5EF4-FFF2-40B4-BE49-F238E27FC236}">
                <a16:creationId xmlns:a16="http://schemas.microsoft.com/office/drawing/2014/main" id="{43D4A256-67DE-4E5D-9924-4CB2E9501A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92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0323BFB7-0011-4A5A-B318-562D15BF81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4D4D02-818F-4EEF-A0F8-32F6BCA55D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576213-D10C-484A-8C3B-BCA1FC3DA13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endParaRPr lang="en-US" dirty="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A88A65A-ECF2-44EF-B095-95CAE91A55A1}"/>
              </a:ext>
            </a:extLst>
          </p:cNvPr>
          <p:cNvCxnSpPr>
            <a:cxnSpLocks/>
          </p:cNvCxnSpPr>
          <p:nvPr/>
        </p:nvCxnSpPr>
        <p:spPr>
          <a:xfrm>
            <a:off x="566057" y="3875314"/>
            <a:ext cx="3265714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F251B5D2-BB68-40B4-BCE4-43F08267F711}"/>
              </a:ext>
            </a:extLst>
          </p:cNvPr>
          <p:cNvGrpSpPr/>
          <p:nvPr/>
        </p:nvGrpSpPr>
        <p:grpSpPr>
          <a:xfrm>
            <a:off x="4122706" y="1901372"/>
            <a:ext cx="3946588" cy="3947882"/>
            <a:chOff x="4786138" y="4728244"/>
            <a:chExt cx="2965130" cy="2966103"/>
          </a:xfrm>
        </p:grpSpPr>
        <p:sp>
          <p:nvSpPr>
            <p:cNvPr id="177" name="Oval 51">
              <a:extLst>
                <a:ext uri="{FF2B5EF4-FFF2-40B4-BE49-F238E27FC236}">
                  <a16:creationId xmlns:a16="http://schemas.microsoft.com/office/drawing/2014/main" id="{DDB62734-38C8-4970-859D-BE429B94FB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86138" y="4728244"/>
              <a:ext cx="2965130" cy="2966103"/>
            </a:xfrm>
            <a:prstGeom prst="ellipse">
              <a:avLst/>
            </a:prstGeom>
            <a:noFill/>
            <a:ln w="14288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Freeform 53">
              <a:extLst>
                <a:ext uri="{FF2B5EF4-FFF2-40B4-BE49-F238E27FC236}">
                  <a16:creationId xmlns:a16="http://schemas.microsoft.com/office/drawing/2014/main" id="{BB5A5D6B-6F48-443E-A456-0E91965BE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703" y="6206845"/>
              <a:ext cx="1263451" cy="1264235"/>
            </a:xfrm>
            <a:custGeom>
              <a:avLst/>
              <a:gdLst>
                <a:gd name="T0" fmla="*/ 829 w 1364"/>
                <a:gd name="T1" fmla="*/ 0 h 1365"/>
                <a:gd name="T2" fmla="*/ 716 w 1364"/>
                <a:gd name="T3" fmla="*/ 0 h 1365"/>
                <a:gd name="T4" fmla="*/ 511 w 1364"/>
                <a:gd name="T5" fmla="*/ 0 h 1365"/>
                <a:gd name="T6" fmla="*/ 432 w 1364"/>
                <a:gd name="T7" fmla="*/ 0 h 1365"/>
                <a:gd name="T8" fmla="*/ 0 w 1364"/>
                <a:gd name="T9" fmla="*/ 0 h 1365"/>
                <a:gd name="T10" fmla="*/ 0 w 1364"/>
                <a:gd name="T11" fmla="*/ 504 h 1365"/>
                <a:gd name="T12" fmla="*/ 0 w 1364"/>
                <a:gd name="T13" fmla="*/ 606 h 1365"/>
                <a:gd name="T14" fmla="*/ 0 w 1364"/>
                <a:gd name="T15" fmla="*/ 812 h 1365"/>
                <a:gd name="T16" fmla="*/ 0 w 1364"/>
                <a:gd name="T17" fmla="*/ 914 h 1365"/>
                <a:gd name="T18" fmla="*/ 0 w 1364"/>
                <a:gd name="T19" fmla="*/ 1365 h 1365"/>
                <a:gd name="T20" fmla="*/ 1364 w 1364"/>
                <a:gd name="T21" fmla="*/ 0 h 1365"/>
                <a:gd name="T22" fmla="*/ 829 w 1364"/>
                <a:gd name="T23" fmla="*/ 0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64" h="1365">
                  <a:moveTo>
                    <a:pt x="829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04"/>
                    <a:pt x="0" y="504"/>
                    <a:pt x="0" y="504"/>
                  </a:cubicBezTo>
                  <a:cubicBezTo>
                    <a:pt x="0" y="606"/>
                    <a:pt x="0" y="606"/>
                    <a:pt x="0" y="606"/>
                  </a:cubicBezTo>
                  <a:cubicBezTo>
                    <a:pt x="0" y="812"/>
                    <a:pt x="0" y="812"/>
                    <a:pt x="0" y="812"/>
                  </a:cubicBezTo>
                  <a:cubicBezTo>
                    <a:pt x="0" y="914"/>
                    <a:pt x="0" y="914"/>
                    <a:pt x="0" y="914"/>
                  </a:cubicBezTo>
                  <a:cubicBezTo>
                    <a:pt x="0" y="1365"/>
                    <a:pt x="0" y="1365"/>
                    <a:pt x="0" y="1365"/>
                  </a:cubicBezTo>
                  <a:cubicBezTo>
                    <a:pt x="753" y="1365"/>
                    <a:pt x="1364" y="754"/>
                    <a:pt x="1364" y="0"/>
                  </a:cubicBezTo>
                  <a:lnTo>
                    <a:pt x="829" y="0"/>
                  </a:lnTo>
                  <a:close/>
                </a:path>
              </a:pathLst>
            </a:custGeom>
            <a:solidFill>
              <a:schemeClr val="accent2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Freeform 49">
              <a:extLst>
                <a:ext uri="{FF2B5EF4-FFF2-40B4-BE49-F238E27FC236}">
                  <a16:creationId xmlns:a16="http://schemas.microsoft.com/office/drawing/2014/main" id="{CC5A8128-E5BD-47E6-A3E6-15CC38D63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703" y="4943786"/>
              <a:ext cx="1263451" cy="1547483"/>
            </a:xfrm>
            <a:custGeom>
              <a:avLst/>
              <a:gdLst>
                <a:gd name="T0" fmla="*/ 0 w 1364"/>
                <a:gd name="T1" fmla="*/ 0 h 1671"/>
                <a:gd name="T2" fmla="*/ 0 w 1364"/>
                <a:gd name="T3" fmla="*/ 1364 h 1671"/>
                <a:gd name="T4" fmla="*/ 511 w 1364"/>
                <a:gd name="T5" fmla="*/ 1364 h 1671"/>
                <a:gd name="T6" fmla="*/ 517 w 1364"/>
                <a:gd name="T7" fmla="*/ 1434 h 1671"/>
                <a:gd name="T8" fmla="*/ 476 w 1364"/>
                <a:gd name="T9" fmla="*/ 1532 h 1671"/>
                <a:gd name="T10" fmla="*/ 615 w 1364"/>
                <a:gd name="T11" fmla="*/ 1671 h 1671"/>
                <a:gd name="T12" fmla="*/ 754 w 1364"/>
                <a:gd name="T13" fmla="*/ 1532 h 1671"/>
                <a:gd name="T14" fmla="*/ 710 w 1364"/>
                <a:gd name="T15" fmla="*/ 1431 h 1671"/>
                <a:gd name="T16" fmla="*/ 716 w 1364"/>
                <a:gd name="T17" fmla="*/ 1364 h 1671"/>
                <a:gd name="T18" fmla="*/ 1364 w 1364"/>
                <a:gd name="T19" fmla="*/ 1364 h 1671"/>
                <a:gd name="T20" fmla="*/ 1364 w 1364"/>
                <a:gd name="T21" fmla="*/ 1364 h 1671"/>
                <a:gd name="T22" fmla="*/ 0 w 1364"/>
                <a:gd name="T23" fmla="*/ 0 h 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64" h="1671">
                  <a:moveTo>
                    <a:pt x="0" y="0"/>
                  </a:moveTo>
                  <a:cubicBezTo>
                    <a:pt x="0" y="1364"/>
                    <a:pt x="0" y="1364"/>
                    <a:pt x="0" y="1364"/>
                  </a:cubicBezTo>
                  <a:cubicBezTo>
                    <a:pt x="511" y="1364"/>
                    <a:pt x="511" y="1364"/>
                    <a:pt x="511" y="1364"/>
                  </a:cubicBezTo>
                  <a:cubicBezTo>
                    <a:pt x="511" y="1364"/>
                    <a:pt x="547" y="1393"/>
                    <a:pt x="517" y="1434"/>
                  </a:cubicBezTo>
                  <a:cubicBezTo>
                    <a:pt x="496" y="1462"/>
                    <a:pt x="476" y="1494"/>
                    <a:pt x="476" y="1532"/>
                  </a:cubicBezTo>
                  <a:cubicBezTo>
                    <a:pt x="476" y="1609"/>
                    <a:pt x="538" y="1671"/>
                    <a:pt x="615" y="1671"/>
                  </a:cubicBezTo>
                  <a:cubicBezTo>
                    <a:pt x="692" y="1671"/>
                    <a:pt x="754" y="1609"/>
                    <a:pt x="754" y="1532"/>
                  </a:cubicBezTo>
                  <a:cubicBezTo>
                    <a:pt x="754" y="1492"/>
                    <a:pt x="732" y="1461"/>
                    <a:pt x="710" y="1431"/>
                  </a:cubicBezTo>
                  <a:cubicBezTo>
                    <a:pt x="702" y="1420"/>
                    <a:pt x="691" y="1385"/>
                    <a:pt x="716" y="1364"/>
                  </a:cubicBezTo>
                  <a:cubicBezTo>
                    <a:pt x="1364" y="1364"/>
                    <a:pt x="1364" y="1364"/>
                    <a:pt x="1364" y="1364"/>
                  </a:cubicBezTo>
                  <a:cubicBezTo>
                    <a:pt x="1364" y="1364"/>
                    <a:pt x="1364" y="1364"/>
                    <a:pt x="1364" y="1364"/>
                  </a:cubicBezTo>
                  <a:cubicBezTo>
                    <a:pt x="1364" y="611"/>
                    <a:pt x="753" y="0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0" name="Freeform 52">
              <a:extLst>
                <a:ext uri="{FF2B5EF4-FFF2-40B4-BE49-F238E27FC236}">
                  <a16:creationId xmlns:a16="http://schemas.microsoft.com/office/drawing/2014/main" id="{156C3427-C8B5-4C1D-BFA3-D13972DF2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5644" y="6206845"/>
              <a:ext cx="1548265" cy="1264235"/>
            </a:xfrm>
            <a:custGeom>
              <a:avLst/>
              <a:gdLst>
                <a:gd name="T0" fmla="*/ 1533 w 1672"/>
                <a:gd name="T1" fmla="*/ 570 h 1365"/>
                <a:gd name="T2" fmla="*/ 1432 w 1672"/>
                <a:gd name="T3" fmla="*/ 614 h 1365"/>
                <a:gd name="T4" fmla="*/ 1366 w 1672"/>
                <a:gd name="T5" fmla="*/ 608 h 1365"/>
                <a:gd name="T6" fmla="*/ 1364 w 1672"/>
                <a:gd name="T7" fmla="*/ 606 h 1365"/>
                <a:gd name="T8" fmla="*/ 1364 w 1672"/>
                <a:gd name="T9" fmla="*/ 209 h 1365"/>
                <a:gd name="T10" fmla="*/ 1364 w 1672"/>
                <a:gd name="T11" fmla="*/ 0 h 1365"/>
                <a:gd name="T12" fmla="*/ 1364 w 1672"/>
                <a:gd name="T13" fmla="*/ 0 h 1365"/>
                <a:gd name="T14" fmla="*/ 0 w 1672"/>
                <a:gd name="T15" fmla="*/ 0 h 1365"/>
                <a:gd name="T16" fmla="*/ 0 w 1672"/>
                <a:gd name="T17" fmla="*/ 0 h 1365"/>
                <a:gd name="T18" fmla="*/ 0 w 1672"/>
                <a:gd name="T19" fmla="*/ 0 h 1365"/>
                <a:gd name="T20" fmla="*/ 1364 w 1672"/>
                <a:gd name="T21" fmla="*/ 1365 h 1365"/>
                <a:gd name="T22" fmla="*/ 1364 w 1672"/>
                <a:gd name="T23" fmla="*/ 812 h 1365"/>
                <a:gd name="T24" fmla="*/ 1366 w 1672"/>
                <a:gd name="T25" fmla="*/ 813 h 1365"/>
                <a:gd name="T26" fmla="*/ 1435 w 1672"/>
                <a:gd name="T27" fmla="*/ 807 h 1365"/>
                <a:gd name="T28" fmla="*/ 1533 w 1672"/>
                <a:gd name="T29" fmla="*/ 848 h 1365"/>
                <a:gd name="T30" fmla="*/ 1672 w 1672"/>
                <a:gd name="T31" fmla="*/ 709 h 1365"/>
                <a:gd name="T32" fmla="*/ 1533 w 1672"/>
                <a:gd name="T33" fmla="*/ 570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2" h="1365">
                  <a:moveTo>
                    <a:pt x="1533" y="570"/>
                  </a:moveTo>
                  <a:cubicBezTo>
                    <a:pt x="1493" y="570"/>
                    <a:pt x="1462" y="592"/>
                    <a:pt x="1432" y="614"/>
                  </a:cubicBezTo>
                  <a:cubicBezTo>
                    <a:pt x="1422" y="622"/>
                    <a:pt x="1387" y="634"/>
                    <a:pt x="1366" y="608"/>
                  </a:cubicBezTo>
                  <a:cubicBezTo>
                    <a:pt x="1365" y="607"/>
                    <a:pt x="1365" y="606"/>
                    <a:pt x="1364" y="606"/>
                  </a:cubicBezTo>
                  <a:cubicBezTo>
                    <a:pt x="1364" y="209"/>
                    <a:pt x="1364" y="209"/>
                    <a:pt x="1364" y="209"/>
                  </a:cubicBezTo>
                  <a:cubicBezTo>
                    <a:pt x="1364" y="0"/>
                    <a:pt x="1364" y="0"/>
                    <a:pt x="1364" y="0"/>
                  </a:cubicBezTo>
                  <a:cubicBezTo>
                    <a:pt x="1364" y="0"/>
                    <a:pt x="1364" y="0"/>
                    <a:pt x="13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54"/>
                    <a:pt x="611" y="1365"/>
                    <a:pt x="1364" y="1365"/>
                  </a:cubicBezTo>
                  <a:cubicBezTo>
                    <a:pt x="1364" y="812"/>
                    <a:pt x="1364" y="812"/>
                    <a:pt x="1364" y="812"/>
                  </a:cubicBezTo>
                  <a:cubicBezTo>
                    <a:pt x="1366" y="813"/>
                    <a:pt x="1366" y="813"/>
                    <a:pt x="1366" y="813"/>
                  </a:cubicBezTo>
                  <a:cubicBezTo>
                    <a:pt x="1366" y="813"/>
                    <a:pt x="1395" y="777"/>
                    <a:pt x="1435" y="807"/>
                  </a:cubicBezTo>
                  <a:cubicBezTo>
                    <a:pt x="1464" y="829"/>
                    <a:pt x="1495" y="848"/>
                    <a:pt x="1533" y="848"/>
                  </a:cubicBezTo>
                  <a:cubicBezTo>
                    <a:pt x="1610" y="848"/>
                    <a:pt x="1672" y="786"/>
                    <a:pt x="1672" y="709"/>
                  </a:cubicBezTo>
                  <a:cubicBezTo>
                    <a:pt x="1672" y="633"/>
                    <a:pt x="1610" y="570"/>
                    <a:pt x="1533" y="57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Freeform 50">
              <a:extLst>
                <a:ext uri="{FF2B5EF4-FFF2-40B4-BE49-F238E27FC236}">
                  <a16:creationId xmlns:a16="http://schemas.microsoft.com/office/drawing/2014/main" id="{ABA3858D-9323-48AB-9522-DF7486C51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5644" y="4943786"/>
              <a:ext cx="1548265" cy="1547483"/>
            </a:xfrm>
            <a:custGeom>
              <a:avLst/>
              <a:gdLst>
                <a:gd name="T0" fmla="*/ 1533 w 1672"/>
                <a:gd name="T1" fmla="*/ 572 h 1671"/>
                <a:gd name="T2" fmla="*/ 1432 w 1672"/>
                <a:gd name="T3" fmla="*/ 616 h 1671"/>
                <a:gd name="T4" fmla="*/ 1366 w 1672"/>
                <a:gd name="T5" fmla="*/ 609 h 1671"/>
                <a:gd name="T6" fmla="*/ 1364 w 1672"/>
                <a:gd name="T7" fmla="*/ 608 h 1671"/>
                <a:gd name="T8" fmla="*/ 1364 w 1672"/>
                <a:gd name="T9" fmla="*/ 0 h 1671"/>
                <a:gd name="T10" fmla="*/ 0 w 1672"/>
                <a:gd name="T11" fmla="*/ 1364 h 1671"/>
                <a:gd name="T12" fmla="*/ 0 w 1672"/>
                <a:gd name="T13" fmla="*/ 1364 h 1671"/>
                <a:gd name="T14" fmla="*/ 586 w 1672"/>
                <a:gd name="T15" fmla="*/ 1364 h 1671"/>
                <a:gd name="T16" fmla="*/ 592 w 1672"/>
                <a:gd name="T17" fmla="*/ 1434 h 1671"/>
                <a:gd name="T18" fmla="*/ 551 w 1672"/>
                <a:gd name="T19" fmla="*/ 1532 h 1671"/>
                <a:gd name="T20" fmla="*/ 690 w 1672"/>
                <a:gd name="T21" fmla="*/ 1671 h 1671"/>
                <a:gd name="T22" fmla="*/ 829 w 1672"/>
                <a:gd name="T23" fmla="*/ 1532 h 1671"/>
                <a:gd name="T24" fmla="*/ 785 w 1672"/>
                <a:gd name="T25" fmla="*/ 1431 h 1671"/>
                <a:gd name="T26" fmla="*/ 791 w 1672"/>
                <a:gd name="T27" fmla="*/ 1364 h 1671"/>
                <a:gd name="T28" fmla="*/ 1364 w 1672"/>
                <a:gd name="T29" fmla="*/ 1364 h 1671"/>
                <a:gd name="T30" fmla="*/ 1364 w 1672"/>
                <a:gd name="T31" fmla="*/ 814 h 1671"/>
                <a:gd name="T32" fmla="*/ 1366 w 1672"/>
                <a:gd name="T33" fmla="*/ 815 h 1671"/>
                <a:gd name="T34" fmla="*/ 1435 w 1672"/>
                <a:gd name="T35" fmla="*/ 809 h 1671"/>
                <a:gd name="T36" fmla="*/ 1533 w 1672"/>
                <a:gd name="T37" fmla="*/ 850 h 1671"/>
                <a:gd name="T38" fmla="*/ 1672 w 1672"/>
                <a:gd name="T39" fmla="*/ 711 h 1671"/>
                <a:gd name="T40" fmla="*/ 1533 w 1672"/>
                <a:gd name="T41" fmla="*/ 572 h 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72" h="1671">
                  <a:moveTo>
                    <a:pt x="1533" y="572"/>
                  </a:moveTo>
                  <a:cubicBezTo>
                    <a:pt x="1493" y="572"/>
                    <a:pt x="1462" y="594"/>
                    <a:pt x="1432" y="616"/>
                  </a:cubicBezTo>
                  <a:cubicBezTo>
                    <a:pt x="1422" y="624"/>
                    <a:pt x="1387" y="635"/>
                    <a:pt x="1366" y="609"/>
                  </a:cubicBezTo>
                  <a:cubicBezTo>
                    <a:pt x="1365" y="609"/>
                    <a:pt x="1365" y="608"/>
                    <a:pt x="1364" y="608"/>
                  </a:cubicBezTo>
                  <a:cubicBezTo>
                    <a:pt x="1364" y="0"/>
                    <a:pt x="1364" y="0"/>
                    <a:pt x="1364" y="0"/>
                  </a:cubicBezTo>
                  <a:cubicBezTo>
                    <a:pt x="611" y="0"/>
                    <a:pt x="0" y="611"/>
                    <a:pt x="0" y="1364"/>
                  </a:cubicBezTo>
                  <a:cubicBezTo>
                    <a:pt x="0" y="1364"/>
                    <a:pt x="0" y="1364"/>
                    <a:pt x="0" y="1364"/>
                  </a:cubicBezTo>
                  <a:cubicBezTo>
                    <a:pt x="586" y="1364"/>
                    <a:pt x="586" y="1364"/>
                    <a:pt x="586" y="1364"/>
                  </a:cubicBezTo>
                  <a:cubicBezTo>
                    <a:pt x="586" y="1364"/>
                    <a:pt x="622" y="1393"/>
                    <a:pt x="592" y="1434"/>
                  </a:cubicBezTo>
                  <a:cubicBezTo>
                    <a:pt x="570" y="1462"/>
                    <a:pt x="551" y="1494"/>
                    <a:pt x="551" y="1532"/>
                  </a:cubicBezTo>
                  <a:cubicBezTo>
                    <a:pt x="551" y="1609"/>
                    <a:pt x="613" y="1671"/>
                    <a:pt x="690" y="1671"/>
                  </a:cubicBezTo>
                  <a:cubicBezTo>
                    <a:pt x="766" y="1671"/>
                    <a:pt x="829" y="1609"/>
                    <a:pt x="829" y="1532"/>
                  </a:cubicBezTo>
                  <a:cubicBezTo>
                    <a:pt x="829" y="1492"/>
                    <a:pt x="807" y="1461"/>
                    <a:pt x="785" y="1431"/>
                  </a:cubicBezTo>
                  <a:cubicBezTo>
                    <a:pt x="777" y="1420"/>
                    <a:pt x="765" y="1385"/>
                    <a:pt x="791" y="1364"/>
                  </a:cubicBezTo>
                  <a:cubicBezTo>
                    <a:pt x="1364" y="1364"/>
                    <a:pt x="1364" y="1364"/>
                    <a:pt x="1364" y="1364"/>
                  </a:cubicBezTo>
                  <a:cubicBezTo>
                    <a:pt x="1364" y="814"/>
                    <a:pt x="1364" y="814"/>
                    <a:pt x="1364" y="814"/>
                  </a:cubicBezTo>
                  <a:cubicBezTo>
                    <a:pt x="1366" y="815"/>
                    <a:pt x="1366" y="815"/>
                    <a:pt x="1366" y="815"/>
                  </a:cubicBezTo>
                  <a:cubicBezTo>
                    <a:pt x="1366" y="815"/>
                    <a:pt x="1395" y="779"/>
                    <a:pt x="1435" y="809"/>
                  </a:cubicBezTo>
                  <a:cubicBezTo>
                    <a:pt x="1464" y="830"/>
                    <a:pt x="1495" y="850"/>
                    <a:pt x="1533" y="850"/>
                  </a:cubicBezTo>
                  <a:cubicBezTo>
                    <a:pt x="1610" y="850"/>
                    <a:pt x="1672" y="788"/>
                    <a:pt x="1672" y="711"/>
                  </a:cubicBezTo>
                  <a:cubicBezTo>
                    <a:pt x="1672" y="634"/>
                    <a:pt x="1610" y="572"/>
                    <a:pt x="1533" y="572"/>
                  </a:cubicBezTo>
                  <a:close/>
                </a:path>
              </a:pathLst>
            </a:custGeom>
            <a:solidFill>
              <a:schemeClr val="accent2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633D85A6-C409-4AB9-B120-BC71601EA0C5}"/>
              </a:ext>
            </a:extLst>
          </p:cNvPr>
          <p:cNvCxnSpPr>
            <a:cxnSpLocks/>
          </p:cNvCxnSpPr>
          <p:nvPr/>
        </p:nvCxnSpPr>
        <p:spPr>
          <a:xfrm>
            <a:off x="8344785" y="3875314"/>
            <a:ext cx="3265714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C5D4CFA2-50C9-4DB9-A5FA-4AB37EA8A792}"/>
              </a:ext>
            </a:extLst>
          </p:cNvPr>
          <p:cNvGrpSpPr/>
          <p:nvPr/>
        </p:nvGrpSpPr>
        <p:grpSpPr>
          <a:xfrm>
            <a:off x="5065966" y="3038847"/>
            <a:ext cx="378937" cy="380683"/>
            <a:chOff x="4841875" y="2895601"/>
            <a:chExt cx="344488" cy="346075"/>
          </a:xfrm>
        </p:grpSpPr>
        <p:sp>
          <p:nvSpPr>
            <p:cNvPr id="186" name="Freeform 258">
              <a:extLst>
                <a:ext uri="{FF2B5EF4-FFF2-40B4-BE49-F238E27FC236}">
                  <a16:creationId xmlns:a16="http://schemas.microsoft.com/office/drawing/2014/main" id="{78FCDD89-289F-4EF7-A7D6-EDCC08091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2895601"/>
              <a:ext cx="195263" cy="195263"/>
            </a:xfrm>
            <a:custGeom>
              <a:avLst/>
              <a:gdLst>
                <a:gd name="T0" fmla="*/ 52 w 52"/>
                <a:gd name="T1" fmla="*/ 26 h 52"/>
                <a:gd name="T2" fmla="*/ 26 w 52"/>
                <a:gd name="T3" fmla="*/ 52 h 52"/>
                <a:gd name="T4" fmla="*/ 0 w 52"/>
                <a:gd name="T5" fmla="*/ 25 h 52"/>
                <a:gd name="T6" fmla="*/ 25 w 52"/>
                <a:gd name="T7" fmla="*/ 0 h 52"/>
                <a:gd name="T8" fmla="*/ 26 w 52"/>
                <a:gd name="T9" fmla="*/ 0 h 52"/>
                <a:gd name="T10" fmla="*/ 52 w 52"/>
                <a:gd name="T11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52" y="26"/>
                  </a:moveTo>
                  <a:cubicBezTo>
                    <a:pt x="52" y="40"/>
                    <a:pt x="40" y="52"/>
                    <a:pt x="26" y="52"/>
                  </a:cubicBezTo>
                  <a:cubicBezTo>
                    <a:pt x="12" y="52"/>
                    <a:pt x="0" y="40"/>
                    <a:pt x="0" y="25"/>
                  </a:cubicBezTo>
                  <a:cubicBezTo>
                    <a:pt x="0" y="11"/>
                    <a:pt x="11" y="1"/>
                    <a:pt x="25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40" y="0"/>
                    <a:pt x="52" y="11"/>
                    <a:pt x="52" y="26"/>
                  </a:cubicBez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7" name="Freeform 259">
              <a:extLst>
                <a:ext uri="{FF2B5EF4-FFF2-40B4-BE49-F238E27FC236}">
                  <a16:creationId xmlns:a16="http://schemas.microsoft.com/office/drawing/2014/main" id="{736192B0-2DF1-4DF5-ADDD-6FFC7619B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7763" y="2895601"/>
              <a:ext cx="52388" cy="195263"/>
            </a:xfrm>
            <a:custGeom>
              <a:avLst/>
              <a:gdLst>
                <a:gd name="T0" fmla="*/ 14 w 14"/>
                <a:gd name="T1" fmla="*/ 0 h 52"/>
                <a:gd name="T2" fmla="*/ 14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14" y="0"/>
                  </a:moveTo>
                  <a:cubicBezTo>
                    <a:pt x="0" y="15"/>
                    <a:pt x="0" y="34"/>
                    <a:pt x="14" y="52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260">
              <a:extLst>
                <a:ext uri="{FF2B5EF4-FFF2-40B4-BE49-F238E27FC236}">
                  <a16:creationId xmlns:a16="http://schemas.microsoft.com/office/drawing/2014/main" id="{D5BC1147-FDF9-4DB3-9C25-D4E475FDF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088" y="2895601"/>
              <a:ext cx="52388" cy="195263"/>
            </a:xfrm>
            <a:custGeom>
              <a:avLst/>
              <a:gdLst>
                <a:gd name="T0" fmla="*/ 0 w 14"/>
                <a:gd name="T1" fmla="*/ 0 h 52"/>
                <a:gd name="T2" fmla="*/ 0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0" y="0"/>
                  </a:moveTo>
                  <a:cubicBezTo>
                    <a:pt x="14" y="15"/>
                    <a:pt x="14" y="34"/>
                    <a:pt x="0" y="52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Line 261">
              <a:extLst>
                <a:ext uri="{FF2B5EF4-FFF2-40B4-BE49-F238E27FC236}">
                  <a16:creationId xmlns:a16="http://schemas.microsoft.com/office/drawing/2014/main" id="{4B93EF38-59A7-4182-B7A7-372B63441D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3044826"/>
              <a:ext cx="165100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Line 262">
              <a:extLst>
                <a:ext uri="{FF2B5EF4-FFF2-40B4-BE49-F238E27FC236}">
                  <a16:creationId xmlns:a16="http://schemas.microsoft.com/office/drawing/2014/main" id="{1402E370-466B-4D08-9466-A5379030E0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2940051"/>
              <a:ext cx="165100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Line 263">
              <a:extLst>
                <a:ext uri="{FF2B5EF4-FFF2-40B4-BE49-F238E27FC236}">
                  <a16:creationId xmlns:a16="http://schemas.microsoft.com/office/drawing/2014/main" id="{5CFB7112-D455-459D-A5AC-7373DA9DA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6488" y="299243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Oval 264">
              <a:extLst>
                <a:ext uri="{FF2B5EF4-FFF2-40B4-BE49-F238E27FC236}">
                  <a16:creationId xmlns:a16="http://schemas.microsoft.com/office/drawing/2014/main" id="{EAFE13D6-4CA3-4E29-91ED-82CC4AB6F4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4100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Oval 265">
              <a:extLst>
                <a:ext uri="{FF2B5EF4-FFF2-40B4-BE49-F238E27FC236}">
                  <a16:creationId xmlns:a16="http://schemas.microsoft.com/office/drawing/2014/main" id="{49F21FF6-9BFC-4ED9-A83C-739188F1BA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4" name="Oval 266">
              <a:extLst>
                <a:ext uri="{FF2B5EF4-FFF2-40B4-BE49-F238E27FC236}">
                  <a16:creationId xmlns:a16="http://schemas.microsoft.com/office/drawing/2014/main" id="{3EB6671B-32B2-424F-8E71-D6E580D077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5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5" name="Freeform 267">
              <a:extLst>
                <a:ext uri="{FF2B5EF4-FFF2-40B4-BE49-F238E27FC236}">
                  <a16:creationId xmlns:a16="http://schemas.microsoft.com/office/drawing/2014/main" id="{2008808D-9D8D-4F35-BB41-313460DFB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3181351"/>
              <a:ext cx="344488" cy="60325"/>
            </a:xfrm>
            <a:custGeom>
              <a:avLst/>
              <a:gdLst>
                <a:gd name="T0" fmla="*/ 76 w 92"/>
                <a:gd name="T1" fmla="*/ 0 h 16"/>
                <a:gd name="T2" fmla="*/ 61 w 92"/>
                <a:gd name="T3" fmla="*/ 11 h 16"/>
                <a:gd name="T4" fmla="*/ 46 w 92"/>
                <a:gd name="T5" fmla="*/ 0 h 16"/>
                <a:gd name="T6" fmla="*/ 31 w 92"/>
                <a:gd name="T7" fmla="*/ 11 h 16"/>
                <a:gd name="T8" fmla="*/ 16 w 92"/>
                <a:gd name="T9" fmla="*/ 0 h 16"/>
                <a:gd name="T10" fmla="*/ 0 w 92"/>
                <a:gd name="T11" fmla="*/ 16 h 16"/>
                <a:gd name="T12" fmla="*/ 92 w 92"/>
                <a:gd name="T13" fmla="*/ 16 h 16"/>
                <a:gd name="T14" fmla="*/ 76 w 92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6">
                  <a:moveTo>
                    <a:pt x="76" y="0"/>
                  </a:moveTo>
                  <a:cubicBezTo>
                    <a:pt x="69" y="0"/>
                    <a:pt x="63" y="4"/>
                    <a:pt x="61" y="11"/>
                  </a:cubicBezTo>
                  <a:cubicBezTo>
                    <a:pt x="59" y="4"/>
                    <a:pt x="53" y="0"/>
                    <a:pt x="46" y="0"/>
                  </a:cubicBezTo>
                  <a:cubicBezTo>
                    <a:pt x="39" y="0"/>
                    <a:pt x="33" y="4"/>
                    <a:pt x="31" y="11"/>
                  </a:cubicBezTo>
                  <a:cubicBezTo>
                    <a:pt x="29" y="4"/>
                    <a:pt x="23" y="0"/>
                    <a:pt x="16" y="0"/>
                  </a:cubicBezTo>
                  <a:cubicBezTo>
                    <a:pt x="7" y="0"/>
                    <a:pt x="0" y="8"/>
                    <a:pt x="0" y="16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8"/>
                    <a:pt x="85" y="0"/>
                    <a:pt x="76" y="0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DC8CF374-7B57-423C-ACD1-26BBC22DB133}"/>
              </a:ext>
            </a:extLst>
          </p:cNvPr>
          <p:cNvGrpSpPr/>
          <p:nvPr/>
        </p:nvGrpSpPr>
        <p:grpSpPr>
          <a:xfrm>
            <a:off x="5144469" y="4482465"/>
            <a:ext cx="371951" cy="380683"/>
            <a:chOff x="2681288" y="4338638"/>
            <a:chExt cx="338137" cy="346075"/>
          </a:xfrm>
        </p:grpSpPr>
        <p:sp>
          <p:nvSpPr>
            <p:cNvPr id="197" name="Oval 334">
              <a:extLst>
                <a:ext uri="{FF2B5EF4-FFF2-40B4-BE49-F238E27FC236}">
                  <a16:creationId xmlns:a16="http://schemas.microsoft.com/office/drawing/2014/main" id="{A64E7033-6E07-417C-A571-9E76F11798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1450" y="4338638"/>
              <a:ext cx="104775" cy="106363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8" name="Freeform 335">
              <a:extLst>
                <a:ext uri="{FF2B5EF4-FFF2-40B4-BE49-F238E27FC236}">
                  <a16:creationId xmlns:a16="http://schemas.microsoft.com/office/drawing/2014/main" id="{D6EC2658-2DAB-4D4A-995A-2DAD9D53F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4475163"/>
              <a:ext cx="165100" cy="209550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7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9" name="Freeform 336">
              <a:extLst>
                <a:ext uri="{FF2B5EF4-FFF2-40B4-BE49-F238E27FC236}">
                  <a16:creationId xmlns:a16="http://schemas.microsoft.com/office/drawing/2014/main" id="{E5680A2C-216D-473C-933D-45E2620E7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9550" y="4475163"/>
              <a:ext cx="30163" cy="104775"/>
            </a:xfrm>
            <a:custGeom>
              <a:avLst/>
              <a:gdLst>
                <a:gd name="T0" fmla="*/ 14 w 19"/>
                <a:gd name="T1" fmla="*/ 0 h 66"/>
                <a:gd name="T2" fmla="*/ 4 w 19"/>
                <a:gd name="T3" fmla="*/ 0 h 66"/>
                <a:gd name="T4" fmla="*/ 0 w 19"/>
                <a:gd name="T5" fmla="*/ 57 h 66"/>
                <a:gd name="T6" fmla="*/ 9 w 19"/>
                <a:gd name="T7" fmla="*/ 66 h 66"/>
                <a:gd name="T8" fmla="*/ 19 w 19"/>
                <a:gd name="T9" fmla="*/ 57 h 66"/>
                <a:gd name="T10" fmla="*/ 14 w 19"/>
                <a:gd name="T11" fmla="*/ 0 h 66"/>
                <a:gd name="T12" fmla="*/ 14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4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0" name="Freeform 337">
              <a:extLst>
                <a:ext uri="{FF2B5EF4-FFF2-40B4-BE49-F238E27FC236}">
                  <a16:creationId xmlns:a16="http://schemas.microsoft.com/office/drawing/2014/main" id="{7828F847-F217-498C-84DC-A098C8D63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4325" y="4354513"/>
              <a:ext cx="150813" cy="180975"/>
            </a:xfrm>
            <a:custGeom>
              <a:avLst/>
              <a:gdLst>
                <a:gd name="T0" fmla="*/ 0 w 40"/>
                <a:gd name="T1" fmla="*/ 6 h 48"/>
                <a:gd name="T2" fmla="*/ 16 w 40"/>
                <a:gd name="T3" fmla="*/ 0 h 48"/>
                <a:gd name="T4" fmla="*/ 40 w 40"/>
                <a:gd name="T5" fmla="*/ 24 h 48"/>
                <a:gd name="T6" fmla="*/ 16 w 40"/>
                <a:gd name="T7" fmla="*/ 48 h 48"/>
                <a:gd name="T8" fmla="*/ 7 w 40"/>
                <a:gd name="T9" fmla="*/ 4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8">
                  <a:moveTo>
                    <a:pt x="0" y="6"/>
                  </a:moveTo>
                  <a:cubicBezTo>
                    <a:pt x="5" y="2"/>
                    <a:pt x="10" y="0"/>
                    <a:pt x="16" y="0"/>
                  </a:cubicBezTo>
                  <a:cubicBezTo>
                    <a:pt x="29" y="0"/>
                    <a:pt x="40" y="11"/>
                    <a:pt x="40" y="24"/>
                  </a:cubicBezTo>
                  <a:cubicBezTo>
                    <a:pt x="40" y="37"/>
                    <a:pt x="29" y="48"/>
                    <a:pt x="16" y="48"/>
                  </a:cubicBezTo>
                  <a:cubicBezTo>
                    <a:pt x="13" y="48"/>
                    <a:pt x="9" y="47"/>
                    <a:pt x="7" y="46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1" name="Freeform 338">
              <a:extLst>
                <a:ext uri="{FF2B5EF4-FFF2-40B4-BE49-F238E27FC236}">
                  <a16:creationId xmlns:a16="http://schemas.microsoft.com/office/drawing/2014/main" id="{655EBE21-074B-4EF0-8B19-31016B6A6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6550" y="4338638"/>
              <a:ext cx="142875" cy="139700"/>
            </a:xfrm>
            <a:custGeom>
              <a:avLst/>
              <a:gdLst>
                <a:gd name="T0" fmla="*/ 90 w 90"/>
                <a:gd name="T1" fmla="*/ 0 h 88"/>
                <a:gd name="T2" fmla="*/ 24 w 90"/>
                <a:gd name="T3" fmla="*/ 88 h 88"/>
                <a:gd name="T4" fmla="*/ 0 w 90"/>
                <a:gd name="T5" fmla="*/ 6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0" h="88">
                  <a:moveTo>
                    <a:pt x="90" y="0"/>
                  </a:moveTo>
                  <a:lnTo>
                    <a:pt x="24" y="88"/>
                  </a:lnTo>
                  <a:lnTo>
                    <a:pt x="0" y="6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A9FEF12C-6088-4AA8-9E2B-3E1055F03331}"/>
              </a:ext>
            </a:extLst>
          </p:cNvPr>
          <p:cNvGrpSpPr/>
          <p:nvPr/>
        </p:nvGrpSpPr>
        <p:grpSpPr>
          <a:xfrm>
            <a:off x="6752418" y="4494371"/>
            <a:ext cx="380684" cy="380683"/>
            <a:chOff x="3398838" y="1811338"/>
            <a:chExt cx="346076" cy="346075"/>
          </a:xfrm>
        </p:grpSpPr>
        <p:sp>
          <p:nvSpPr>
            <p:cNvPr id="203" name="Oval 5">
              <a:extLst>
                <a:ext uri="{FF2B5EF4-FFF2-40B4-BE49-F238E27FC236}">
                  <a16:creationId xmlns:a16="http://schemas.microsoft.com/office/drawing/2014/main" id="{9E0D4E53-D6C8-4A2D-8A49-BEC46ABC0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1811338"/>
              <a:ext cx="346075" cy="34607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4" name="Freeform 6">
              <a:extLst>
                <a:ext uri="{FF2B5EF4-FFF2-40B4-BE49-F238E27FC236}">
                  <a16:creationId xmlns:a16="http://schemas.microsoft.com/office/drawing/2014/main" id="{CD3FAAC1-1992-4E43-BA15-FEF16009F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9488" y="1819276"/>
              <a:ext cx="7938" cy="33338"/>
            </a:xfrm>
            <a:custGeom>
              <a:avLst/>
              <a:gdLst>
                <a:gd name="T0" fmla="*/ 2 w 2"/>
                <a:gd name="T1" fmla="*/ 9 h 9"/>
                <a:gd name="T2" fmla="*/ 0 w 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" h="9">
                  <a:moveTo>
                    <a:pt x="2" y="9"/>
                  </a:moveTo>
                  <a:cubicBezTo>
                    <a:pt x="1" y="6"/>
                    <a:pt x="0" y="3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5" name="Freeform 7">
              <a:extLst>
                <a:ext uri="{FF2B5EF4-FFF2-40B4-BE49-F238E27FC236}">
                  <a16:creationId xmlns:a16="http://schemas.microsoft.com/office/drawing/2014/main" id="{203755E6-B589-4CD2-BD48-E7DF028DF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6" y="1905001"/>
              <a:ext cx="104775" cy="68263"/>
            </a:xfrm>
            <a:custGeom>
              <a:avLst/>
              <a:gdLst>
                <a:gd name="T0" fmla="*/ 28 w 28"/>
                <a:gd name="T1" fmla="*/ 18 h 18"/>
                <a:gd name="T2" fmla="*/ 0 w 28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8" h="18">
                  <a:moveTo>
                    <a:pt x="28" y="18"/>
                  </a:moveTo>
                  <a:cubicBezTo>
                    <a:pt x="16" y="16"/>
                    <a:pt x="6" y="9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6" name="Freeform 8">
              <a:extLst>
                <a:ext uri="{FF2B5EF4-FFF2-40B4-BE49-F238E27FC236}">
                  <a16:creationId xmlns:a16="http://schemas.microsoft.com/office/drawing/2014/main" id="{B213BA11-E637-4B3B-A3DE-6A98F3089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6" y="1968501"/>
              <a:ext cx="26988" cy="4763"/>
            </a:xfrm>
            <a:custGeom>
              <a:avLst/>
              <a:gdLst>
                <a:gd name="T0" fmla="*/ 7 w 7"/>
                <a:gd name="T1" fmla="*/ 0 h 1"/>
                <a:gd name="T2" fmla="*/ 0 w 7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">
                  <a:moveTo>
                    <a:pt x="7" y="0"/>
                  </a:moveTo>
                  <a:cubicBezTo>
                    <a:pt x="5" y="1"/>
                    <a:pt x="2" y="1"/>
                    <a:pt x="0" y="1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7" name="Freeform 9">
              <a:extLst>
                <a:ext uri="{FF2B5EF4-FFF2-40B4-BE49-F238E27FC236}">
                  <a16:creationId xmlns:a16="http://schemas.microsoft.com/office/drawing/2014/main" id="{0C787B3E-5184-4C32-8632-B8C4DFAB2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1" y="2078038"/>
              <a:ext cx="93663" cy="74613"/>
            </a:xfrm>
            <a:custGeom>
              <a:avLst/>
              <a:gdLst>
                <a:gd name="T0" fmla="*/ 25 w 25"/>
                <a:gd name="T1" fmla="*/ 0 h 20"/>
                <a:gd name="T2" fmla="*/ 0 w 25"/>
                <a:gd name="T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5" h="20">
                  <a:moveTo>
                    <a:pt x="25" y="0"/>
                  </a:moveTo>
                  <a:cubicBezTo>
                    <a:pt x="18" y="8"/>
                    <a:pt x="9" y="15"/>
                    <a:pt x="0" y="2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8" name="Freeform 10">
              <a:extLst>
                <a:ext uri="{FF2B5EF4-FFF2-40B4-BE49-F238E27FC236}">
                  <a16:creationId xmlns:a16="http://schemas.microsoft.com/office/drawing/2014/main" id="{BAFCD8DE-48C9-4ACF-9405-917499D67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1" y="2003426"/>
              <a:ext cx="22225" cy="36513"/>
            </a:xfrm>
            <a:custGeom>
              <a:avLst/>
              <a:gdLst>
                <a:gd name="T0" fmla="*/ 6 w 6"/>
                <a:gd name="T1" fmla="*/ 0 h 10"/>
                <a:gd name="T2" fmla="*/ 0 w 6"/>
                <a:gd name="T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0">
                  <a:moveTo>
                    <a:pt x="6" y="0"/>
                  </a:moveTo>
                  <a:cubicBezTo>
                    <a:pt x="4" y="3"/>
                    <a:pt x="2" y="7"/>
                    <a:pt x="0" y="1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9" name="Freeform 11">
              <a:extLst>
                <a:ext uri="{FF2B5EF4-FFF2-40B4-BE49-F238E27FC236}">
                  <a16:creationId xmlns:a16="http://schemas.microsoft.com/office/drawing/2014/main" id="{4BB1AF25-E024-48ED-9EE1-D414775EE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1882776"/>
              <a:ext cx="15875" cy="63500"/>
            </a:xfrm>
            <a:custGeom>
              <a:avLst/>
              <a:gdLst>
                <a:gd name="T0" fmla="*/ 4 w 4"/>
                <a:gd name="T1" fmla="*/ 0 h 17"/>
                <a:gd name="T2" fmla="*/ 0 w 4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7">
                  <a:moveTo>
                    <a:pt x="4" y="0"/>
                  </a:moveTo>
                  <a:cubicBezTo>
                    <a:pt x="3" y="6"/>
                    <a:pt x="2" y="11"/>
                    <a:pt x="0" y="17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0" name="Freeform 12">
              <a:extLst>
                <a:ext uri="{FF2B5EF4-FFF2-40B4-BE49-F238E27FC236}">
                  <a16:creationId xmlns:a16="http://schemas.microsoft.com/office/drawing/2014/main" id="{6628F3E7-6BC8-4F88-8784-D25391D9E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2044701"/>
              <a:ext cx="38100" cy="6350"/>
            </a:xfrm>
            <a:custGeom>
              <a:avLst/>
              <a:gdLst>
                <a:gd name="T0" fmla="*/ 10 w 10"/>
                <a:gd name="T1" fmla="*/ 2 h 2"/>
                <a:gd name="T2" fmla="*/ 0 w 10"/>
                <a:gd name="T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">
                  <a:moveTo>
                    <a:pt x="10" y="2"/>
                  </a:moveTo>
                  <a:cubicBezTo>
                    <a:pt x="7" y="2"/>
                    <a:pt x="3" y="1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1" name="Freeform 13">
              <a:extLst>
                <a:ext uri="{FF2B5EF4-FFF2-40B4-BE49-F238E27FC236}">
                  <a16:creationId xmlns:a16="http://schemas.microsoft.com/office/drawing/2014/main" id="{C8ACE8B4-C4E5-4138-9A12-28F27438D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8213" y="2058988"/>
              <a:ext cx="71438" cy="7938"/>
            </a:xfrm>
            <a:custGeom>
              <a:avLst/>
              <a:gdLst>
                <a:gd name="T0" fmla="*/ 19 w 19"/>
                <a:gd name="T1" fmla="*/ 2 h 2"/>
                <a:gd name="T2" fmla="*/ 0 w 19"/>
                <a:gd name="T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2">
                  <a:moveTo>
                    <a:pt x="19" y="2"/>
                  </a:moveTo>
                  <a:cubicBezTo>
                    <a:pt x="12" y="2"/>
                    <a:pt x="6" y="1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2" name="Freeform 14">
              <a:extLst>
                <a:ext uri="{FF2B5EF4-FFF2-40B4-BE49-F238E27FC236}">
                  <a16:creationId xmlns:a16="http://schemas.microsoft.com/office/drawing/2014/main" id="{C7D68EAF-230A-4E2D-9259-0DB390381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2066926"/>
              <a:ext cx="22225" cy="0"/>
            </a:xfrm>
            <a:custGeom>
              <a:avLst/>
              <a:gdLst>
                <a:gd name="T0" fmla="*/ 6 w 6"/>
                <a:gd name="T1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3" name="Freeform 15">
              <a:extLst>
                <a:ext uri="{FF2B5EF4-FFF2-40B4-BE49-F238E27FC236}">
                  <a16:creationId xmlns:a16="http://schemas.microsoft.com/office/drawing/2014/main" id="{2D633CB4-EBF0-41DA-9207-82F79EC54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2363" y="2047876"/>
              <a:ext cx="66675" cy="15875"/>
            </a:xfrm>
            <a:custGeom>
              <a:avLst/>
              <a:gdLst>
                <a:gd name="T0" fmla="*/ 18 w 18"/>
                <a:gd name="T1" fmla="*/ 0 h 4"/>
                <a:gd name="T2" fmla="*/ 0 w 18"/>
                <a:gd name="T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4">
                  <a:moveTo>
                    <a:pt x="18" y="0"/>
                  </a:moveTo>
                  <a:cubicBezTo>
                    <a:pt x="12" y="1"/>
                    <a:pt x="6" y="3"/>
                    <a:pt x="0" y="4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4" name="Freeform 16">
              <a:extLst>
                <a:ext uri="{FF2B5EF4-FFF2-40B4-BE49-F238E27FC236}">
                  <a16:creationId xmlns:a16="http://schemas.microsoft.com/office/drawing/2014/main" id="{5FC79D1F-4B40-4E22-8A03-8BDC8135F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988" y="1855788"/>
              <a:ext cx="52388" cy="19050"/>
            </a:xfrm>
            <a:custGeom>
              <a:avLst/>
              <a:gdLst>
                <a:gd name="T0" fmla="*/ 14 w 14"/>
                <a:gd name="T1" fmla="*/ 5 h 5"/>
                <a:gd name="T2" fmla="*/ 12 w 14"/>
                <a:gd name="T3" fmla="*/ 5 h 5"/>
                <a:gd name="T4" fmla="*/ 0 w 14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5">
                  <a:moveTo>
                    <a:pt x="14" y="5"/>
                  </a:moveTo>
                  <a:cubicBezTo>
                    <a:pt x="13" y="5"/>
                    <a:pt x="13" y="5"/>
                    <a:pt x="12" y="5"/>
                  </a:cubicBezTo>
                  <a:cubicBezTo>
                    <a:pt x="8" y="4"/>
                    <a:pt x="4" y="2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5" name="Freeform 17">
              <a:extLst>
                <a:ext uri="{FF2B5EF4-FFF2-40B4-BE49-F238E27FC236}">
                  <a16:creationId xmlns:a16="http://schemas.microsoft.com/office/drawing/2014/main" id="{7661FE90-91C3-41F6-BAD4-D97B4286E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1836738"/>
              <a:ext cx="93663" cy="41275"/>
            </a:xfrm>
            <a:custGeom>
              <a:avLst/>
              <a:gdLst>
                <a:gd name="T0" fmla="*/ 25 w 25"/>
                <a:gd name="T1" fmla="*/ 0 h 11"/>
                <a:gd name="T2" fmla="*/ 0 w 25"/>
                <a:gd name="T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5" h="11">
                  <a:moveTo>
                    <a:pt x="25" y="0"/>
                  </a:moveTo>
                  <a:cubicBezTo>
                    <a:pt x="18" y="6"/>
                    <a:pt x="9" y="10"/>
                    <a:pt x="0" y="11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6" name="Freeform 18">
              <a:extLst>
                <a:ext uri="{FF2B5EF4-FFF2-40B4-BE49-F238E27FC236}">
                  <a16:creationId xmlns:a16="http://schemas.microsoft.com/office/drawing/2014/main" id="{2FB8AD1C-1F2D-490A-9DD0-031A35D72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2988" y="2085976"/>
              <a:ext cx="38100" cy="63500"/>
            </a:xfrm>
            <a:custGeom>
              <a:avLst/>
              <a:gdLst>
                <a:gd name="T0" fmla="*/ 0 w 10"/>
                <a:gd name="T1" fmla="*/ 0 h 17"/>
                <a:gd name="T2" fmla="*/ 10 w 10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7">
                  <a:moveTo>
                    <a:pt x="0" y="0"/>
                  </a:moveTo>
                  <a:cubicBezTo>
                    <a:pt x="4" y="5"/>
                    <a:pt x="8" y="11"/>
                    <a:pt x="10" y="17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7" name="Freeform 19">
              <a:extLst>
                <a:ext uri="{FF2B5EF4-FFF2-40B4-BE49-F238E27FC236}">
                  <a16:creationId xmlns:a16="http://schemas.microsoft.com/office/drawing/2014/main" id="{9F508D89-4C81-4F13-B7BF-8B8308020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613" y="2003426"/>
              <a:ext cx="53975" cy="44450"/>
            </a:xfrm>
            <a:custGeom>
              <a:avLst/>
              <a:gdLst>
                <a:gd name="T0" fmla="*/ 0 w 14"/>
                <a:gd name="T1" fmla="*/ 0 h 12"/>
                <a:gd name="T2" fmla="*/ 14 w 14"/>
                <a:gd name="T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12">
                  <a:moveTo>
                    <a:pt x="0" y="0"/>
                  </a:moveTo>
                  <a:cubicBezTo>
                    <a:pt x="5" y="3"/>
                    <a:pt x="10" y="8"/>
                    <a:pt x="14" y="12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8" name="Freeform 20">
              <a:extLst>
                <a:ext uri="{FF2B5EF4-FFF2-40B4-BE49-F238E27FC236}">
                  <a16:creationId xmlns:a16="http://schemas.microsoft.com/office/drawing/2014/main" id="{46D283FF-9A14-46DC-A9D1-A1240F4FB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965326"/>
              <a:ext cx="49213" cy="14288"/>
            </a:xfrm>
            <a:custGeom>
              <a:avLst/>
              <a:gdLst>
                <a:gd name="T0" fmla="*/ 0 w 13"/>
                <a:gd name="T1" fmla="*/ 0 h 4"/>
                <a:gd name="T2" fmla="*/ 13 w 13"/>
                <a:gd name="T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4">
                  <a:moveTo>
                    <a:pt x="0" y="0"/>
                  </a:moveTo>
                  <a:cubicBezTo>
                    <a:pt x="5" y="1"/>
                    <a:pt x="9" y="2"/>
                    <a:pt x="13" y="4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9" name="Freeform 21">
              <a:extLst>
                <a:ext uri="{FF2B5EF4-FFF2-40B4-BE49-F238E27FC236}">
                  <a16:creationId xmlns:a16="http://schemas.microsoft.com/office/drawing/2014/main" id="{06F19F4D-76BE-4E95-8742-D370F30A5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113" y="2074863"/>
              <a:ext cx="15875" cy="22225"/>
            </a:xfrm>
            <a:custGeom>
              <a:avLst/>
              <a:gdLst>
                <a:gd name="T0" fmla="*/ 4 w 4"/>
                <a:gd name="T1" fmla="*/ 0 h 6"/>
                <a:gd name="T2" fmla="*/ 0 w 4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cubicBezTo>
                    <a:pt x="3" y="2"/>
                    <a:pt x="2" y="4"/>
                    <a:pt x="0" y="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0" name="Freeform 22">
              <a:extLst>
                <a:ext uri="{FF2B5EF4-FFF2-40B4-BE49-F238E27FC236}">
                  <a16:creationId xmlns:a16="http://schemas.microsoft.com/office/drawing/2014/main" id="{699F676A-B1AD-4371-83D3-B60E07CAA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1" y="2022476"/>
              <a:ext cx="6350" cy="22225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2" y="2"/>
                    <a:pt x="1" y="4"/>
                    <a:pt x="0" y="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1" name="Freeform 23">
              <a:extLst>
                <a:ext uri="{FF2B5EF4-FFF2-40B4-BE49-F238E27FC236}">
                  <a16:creationId xmlns:a16="http://schemas.microsoft.com/office/drawing/2014/main" id="{E913DB75-32F1-4985-A358-36600B98F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6938" y="1874838"/>
              <a:ext cx="36513" cy="87313"/>
            </a:xfrm>
            <a:custGeom>
              <a:avLst/>
              <a:gdLst>
                <a:gd name="T0" fmla="*/ 0 w 10"/>
                <a:gd name="T1" fmla="*/ 0 h 23"/>
                <a:gd name="T2" fmla="*/ 10 w 10"/>
                <a:gd name="T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3">
                  <a:moveTo>
                    <a:pt x="0" y="0"/>
                  </a:moveTo>
                  <a:cubicBezTo>
                    <a:pt x="5" y="7"/>
                    <a:pt x="9" y="14"/>
                    <a:pt x="10" y="23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2" name="Oval 24">
              <a:extLst>
                <a:ext uri="{FF2B5EF4-FFF2-40B4-BE49-F238E27FC236}">
                  <a16:creationId xmlns:a16="http://schemas.microsoft.com/office/drawing/2014/main" id="{E9CC63B1-160F-47B3-AE4C-A654470839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376" y="1852613"/>
              <a:ext cx="60325" cy="6032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3" name="Oval 25">
              <a:extLst>
                <a:ext uri="{FF2B5EF4-FFF2-40B4-BE49-F238E27FC236}">
                  <a16:creationId xmlns:a16="http://schemas.microsoft.com/office/drawing/2014/main" id="{FADA0255-B974-4E0A-AE3C-BA394BF5CF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051" y="1962151"/>
              <a:ext cx="60325" cy="6032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4" name="Oval 26">
              <a:extLst>
                <a:ext uri="{FF2B5EF4-FFF2-40B4-BE49-F238E27FC236}">
                  <a16:creationId xmlns:a16="http://schemas.microsoft.com/office/drawing/2014/main" id="{FD7AEE32-0545-45AC-B7BF-DCE397CC52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051" y="2044701"/>
              <a:ext cx="30163" cy="30163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5" name="Oval 27">
              <a:extLst>
                <a:ext uri="{FF2B5EF4-FFF2-40B4-BE49-F238E27FC236}">
                  <a16:creationId xmlns:a16="http://schemas.microsoft.com/office/drawing/2014/main" id="{FD386035-BF52-4CDE-ABBC-C59C633988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651" y="2044701"/>
              <a:ext cx="44450" cy="44450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6" name="Oval 28">
              <a:extLst>
                <a:ext uri="{FF2B5EF4-FFF2-40B4-BE49-F238E27FC236}">
                  <a16:creationId xmlns:a16="http://schemas.microsoft.com/office/drawing/2014/main" id="{A7EA0663-CF9D-41DC-AADB-2D407EC01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6326" y="2036763"/>
              <a:ext cx="46038" cy="44450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7" name="Oval 29">
              <a:extLst>
                <a:ext uri="{FF2B5EF4-FFF2-40B4-BE49-F238E27FC236}">
                  <a16:creationId xmlns:a16="http://schemas.microsoft.com/office/drawing/2014/main" id="{AC49B289-B2BC-4ABA-8145-6E2549485A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7601" y="1946276"/>
              <a:ext cx="60325" cy="6032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95E9B5A0-3771-4E1B-8738-0496B9E1BDF4}"/>
              </a:ext>
            </a:extLst>
          </p:cNvPr>
          <p:cNvGrpSpPr/>
          <p:nvPr/>
        </p:nvGrpSpPr>
        <p:grpSpPr>
          <a:xfrm>
            <a:off x="6754184" y="2991096"/>
            <a:ext cx="296863" cy="380683"/>
            <a:chOff x="3429001" y="2533651"/>
            <a:chExt cx="269875" cy="346075"/>
          </a:xfrm>
        </p:grpSpPr>
        <p:sp>
          <p:nvSpPr>
            <p:cNvPr id="229" name="Rectangle 17">
              <a:extLst>
                <a:ext uri="{FF2B5EF4-FFF2-40B4-BE49-F238E27FC236}">
                  <a16:creationId xmlns:a16="http://schemas.microsoft.com/office/drawing/2014/main" id="{BA265547-43DD-4E0A-80D9-F7424D2F60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9001" y="2654301"/>
              <a:ext cx="150813" cy="2254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0" name="Freeform 18">
              <a:extLst>
                <a:ext uri="{FF2B5EF4-FFF2-40B4-BE49-F238E27FC236}">
                  <a16:creationId xmlns:a16="http://schemas.microsoft.com/office/drawing/2014/main" id="{EFC95208-CA72-4098-915B-A2358E257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651" y="2533651"/>
              <a:ext cx="149225" cy="346075"/>
            </a:xfrm>
            <a:custGeom>
              <a:avLst/>
              <a:gdLst>
                <a:gd name="T0" fmla="*/ 94 w 94"/>
                <a:gd name="T1" fmla="*/ 218 h 218"/>
                <a:gd name="T2" fmla="*/ 19 w 94"/>
                <a:gd name="T3" fmla="*/ 218 h 218"/>
                <a:gd name="T4" fmla="*/ 19 w 94"/>
                <a:gd name="T5" fmla="*/ 76 h 218"/>
                <a:gd name="T6" fmla="*/ 0 w 94"/>
                <a:gd name="T7" fmla="*/ 76 h 218"/>
                <a:gd name="T8" fmla="*/ 0 w 94"/>
                <a:gd name="T9" fmla="*/ 0 h 218"/>
                <a:gd name="T10" fmla="*/ 94 w 94"/>
                <a:gd name="T11" fmla="*/ 0 h 218"/>
                <a:gd name="T12" fmla="*/ 94 w 94"/>
                <a:gd name="T13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218">
                  <a:moveTo>
                    <a:pt x="94" y="218"/>
                  </a:moveTo>
                  <a:lnTo>
                    <a:pt x="19" y="218"/>
                  </a:lnTo>
                  <a:lnTo>
                    <a:pt x="19" y="76"/>
                  </a:lnTo>
                  <a:lnTo>
                    <a:pt x="0" y="76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1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1" name="Rectangle 19">
              <a:extLst>
                <a:ext uri="{FF2B5EF4-FFF2-40B4-BE49-F238E27FC236}">
                  <a16:creationId xmlns:a16="http://schemas.microsoft.com/office/drawing/2014/main" id="{9115DFDB-DBB9-4287-AFEB-6ABE0AD604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4263" y="2835276"/>
              <a:ext cx="44450" cy="4445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2" name="Rectangle 20">
              <a:extLst>
                <a:ext uri="{FF2B5EF4-FFF2-40B4-BE49-F238E27FC236}">
                  <a16:creationId xmlns:a16="http://schemas.microsoft.com/office/drawing/2014/main" id="{4C6DFE97-B5B3-46BB-AB50-98A5FA809D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9163" y="2835276"/>
              <a:ext cx="44450" cy="4445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3" name="Line 21">
              <a:extLst>
                <a:ext uri="{FF2B5EF4-FFF2-40B4-BE49-F238E27FC236}">
                  <a16:creationId xmlns:a16="http://schemas.microsoft.com/office/drawing/2014/main" id="{29B5C5FD-1488-4142-9A64-4679392416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684463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4" name="Line 22">
              <a:extLst>
                <a:ext uri="{FF2B5EF4-FFF2-40B4-BE49-F238E27FC236}">
                  <a16:creationId xmlns:a16="http://schemas.microsoft.com/office/drawing/2014/main" id="{7892CA3A-8675-4BD0-93E3-97FEFBB9D6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714626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5" name="Line 23">
              <a:extLst>
                <a:ext uri="{FF2B5EF4-FFF2-40B4-BE49-F238E27FC236}">
                  <a16:creationId xmlns:a16="http://schemas.microsoft.com/office/drawing/2014/main" id="{9B86F317-B586-4851-BDA7-5D0E512B25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593976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6" name="Line 24">
              <a:extLst>
                <a:ext uri="{FF2B5EF4-FFF2-40B4-BE49-F238E27FC236}">
                  <a16:creationId xmlns:a16="http://schemas.microsoft.com/office/drawing/2014/main" id="{937EC80E-5B71-4FA0-8527-9CDA3F5FA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563813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7" name="Line 25">
              <a:extLst>
                <a:ext uri="{FF2B5EF4-FFF2-40B4-BE49-F238E27FC236}">
                  <a16:creationId xmlns:a16="http://schemas.microsoft.com/office/drawing/2014/main" id="{0A456D6E-139C-42FA-A0AD-C829590958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624138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8" name="Line 26">
              <a:extLst>
                <a:ext uri="{FF2B5EF4-FFF2-40B4-BE49-F238E27FC236}">
                  <a16:creationId xmlns:a16="http://schemas.microsoft.com/office/drawing/2014/main" id="{7445D162-EE48-447A-8608-7D3634285A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744788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638160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BA9F6C40-2E39-4911-B8D0-348CD2452F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1206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19F972D-DA87-4AB8-B2E4-EB219697C6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0" name="Picture 19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8B6C30F4-350B-470A-B1A5-D1486F7169C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62" r="397" b="24245"/>
          <a:stretch/>
        </p:blipFill>
        <p:spPr>
          <a:xfrm>
            <a:off x="2628901" y="1857737"/>
            <a:ext cx="9563100" cy="388266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168DD933-DD0E-40A9-B61A-790814CC75A5}"/>
              </a:ext>
            </a:extLst>
          </p:cNvPr>
          <p:cNvSpPr/>
          <p:nvPr/>
        </p:nvSpPr>
        <p:spPr>
          <a:xfrm>
            <a:off x="2628900" y="1857737"/>
            <a:ext cx="9563100" cy="3882663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75000"/>
                  <a:lumOff val="25000"/>
                  <a:alpha val="70000"/>
                </a:schemeClr>
              </a:gs>
              <a:gs pos="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D0D311C-3D85-42DD-923E-1B6594F4D7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408D0-0EDF-4D3E-A67A-D7EB74CB6D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3" name="Freeform 18">
            <a:extLst>
              <a:ext uri="{FF2B5EF4-FFF2-40B4-BE49-F238E27FC236}">
                <a16:creationId xmlns:a16="http://schemas.microsoft.com/office/drawing/2014/main" id="{0B2DB1AD-EB97-43F3-BB0B-D341A2A8EB81}"/>
              </a:ext>
            </a:extLst>
          </p:cNvPr>
          <p:cNvSpPr>
            <a:spLocks/>
          </p:cNvSpPr>
          <p:nvPr/>
        </p:nvSpPr>
        <p:spPr bwMode="auto">
          <a:xfrm>
            <a:off x="1834456" y="3148540"/>
            <a:ext cx="1589972" cy="74559"/>
          </a:xfrm>
          <a:custGeom>
            <a:avLst/>
            <a:gdLst>
              <a:gd name="T0" fmla="*/ 1651 w 1706"/>
              <a:gd name="T1" fmla="*/ 80 h 80"/>
              <a:gd name="T2" fmla="*/ 66 w 1706"/>
              <a:gd name="T3" fmla="*/ 80 h 80"/>
              <a:gd name="T4" fmla="*/ 0 w 1706"/>
              <a:gd name="T5" fmla="*/ 0 h 80"/>
              <a:gd name="T6" fmla="*/ 1706 w 1706"/>
              <a:gd name="T7" fmla="*/ 0 h 80"/>
              <a:gd name="T8" fmla="*/ 1651 w 1706"/>
              <a:gd name="T9" fmla="*/ 8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06" h="80">
                <a:moveTo>
                  <a:pt x="1651" y="80"/>
                </a:moveTo>
                <a:lnTo>
                  <a:pt x="66" y="80"/>
                </a:lnTo>
                <a:lnTo>
                  <a:pt x="0" y="0"/>
                </a:lnTo>
                <a:lnTo>
                  <a:pt x="1706" y="0"/>
                </a:lnTo>
                <a:lnTo>
                  <a:pt x="1651" y="80"/>
                </a:lnTo>
                <a:close/>
              </a:path>
            </a:pathLst>
          </a:custGeom>
          <a:solidFill>
            <a:srgbClr val="6B9E2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" name="Freeform 19">
            <a:extLst>
              <a:ext uri="{FF2B5EF4-FFF2-40B4-BE49-F238E27FC236}">
                <a16:creationId xmlns:a16="http://schemas.microsoft.com/office/drawing/2014/main" id="{65E87411-07C8-451E-8C0E-1332B9882F20}"/>
              </a:ext>
            </a:extLst>
          </p:cNvPr>
          <p:cNvSpPr>
            <a:spLocks/>
          </p:cNvSpPr>
          <p:nvPr/>
        </p:nvSpPr>
        <p:spPr bwMode="auto">
          <a:xfrm>
            <a:off x="1208160" y="4313526"/>
            <a:ext cx="2841633" cy="76423"/>
          </a:xfrm>
          <a:custGeom>
            <a:avLst/>
            <a:gdLst>
              <a:gd name="T0" fmla="*/ 3002 w 3049"/>
              <a:gd name="T1" fmla="*/ 82 h 82"/>
              <a:gd name="T2" fmla="*/ 62 w 3049"/>
              <a:gd name="T3" fmla="*/ 82 h 82"/>
              <a:gd name="T4" fmla="*/ 0 w 3049"/>
              <a:gd name="T5" fmla="*/ 0 h 82"/>
              <a:gd name="T6" fmla="*/ 3049 w 3049"/>
              <a:gd name="T7" fmla="*/ 0 h 82"/>
              <a:gd name="T8" fmla="*/ 3002 w 3049"/>
              <a:gd name="T9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49" h="82">
                <a:moveTo>
                  <a:pt x="3002" y="82"/>
                </a:moveTo>
                <a:lnTo>
                  <a:pt x="62" y="82"/>
                </a:lnTo>
                <a:lnTo>
                  <a:pt x="0" y="0"/>
                </a:lnTo>
                <a:lnTo>
                  <a:pt x="3049" y="0"/>
                </a:lnTo>
                <a:lnTo>
                  <a:pt x="3002" y="82"/>
                </a:lnTo>
                <a:close/>
              </a:path>
            </a:pathLst>
          </a:custGeom>
          <a:solidFill>
            <a:srgbClr val="507719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reeform 20">
            <a:extLst>
              <a:ext uri="{FF2B5EF4-FFF2-40B4-BE49-F238E27FC236}">
                <a16:creationId xmlns:a16="http://schemas.microsoft.com/office/drawing/2014/main" id="{5B52A3C1-E7D4-458E-992B-8C0A01A88FDF}"/>
              </a:ext>
            </a:extLst>
          </p:cNvPr>
          <p:cNvSpPr>
            <a:spLocks/>
          </p:cNvSpPr>
          <p:nvPr/>
        </p:nvSpPr>
        <p:spPr bwMode="auto">
          <a:xfrm>
            <a:off x="593047" y="5459871"/>
            <a:ext cx="4071858" cy="75491"/>
          </a:xfrm>
          <a:custGeom>
            <a:avLst/>
            <a:gdLst>
              <a:gd name="T0" fmla="*/ 4327 w 4369"/>
              <a:gd name="T1" fmla="*/ 81 h 81"/>
              <a:gd name="T2" fmla="*/ 57 w 4369"/>
              <a:gd name="T3" fmla="*/ 81 h 81"/>
              <a:gd name="T4" fmla="*/ 0 w 4369"/>
              <a:gd name="T5" fmla="*/ 0 h 81"/>
              <a:gd name="T6" fmla="*/ 4369 w 4369"/>
              <a:gd name="T7" fmla="*/ 0 h 81"/>
              <a:gd name="T8" fmla="*/ 4327 w 4369"/>
              <a:gd name="T9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69" h="81">
                <a:moveTo>
                  <a:pt x="4327" y="81"/>
                </a:moveTo>
                <a:lnTo>
                  <a:pt x="57" y="81"/>
                </a:lnTo>
                <a:lnTo>
                  <a:pt x="0" y="0"/>
                </a:lnTo>
                <a:lnTo>
                  <a:pt x="4369" y="0"/>
                </a:lnTo>
                <a:lnTo>
                  <a:pt x="4327" y="81"/>
                </a:lnTo>
                <a:close/>
              </a:path>
            </a:pathLst>
          </a:custGeom>
          <a:solidFill>
            <a:srgbClr val="364F11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" name="Freeform 14">
            <a:extLst>
              <a:ext uri="{FF2B5EF4-FFF2-40B4-BE49-F238E27FC236}">
                <a16:creationId xmlns:a16="http://schemas.microsoft.com/office/drawing/2014/main" id="{36511CBB-5130-4B0A-AF28-162BDCF5C7CE}"/>
              </a:ext>
            </a:extLst>
          </p:cNvPr>
          <p:cNvSpPr>
            <a:spLocks/>
          </p:cNvSpPr>
          <p:nvPr/>
        </p:nvSpPr>
        <p:spPr bwMode="auto">
          <a:xfrm>
            <a:off x="533400" y="1857737"/>
            <a:ext cx="4204200" cy="3882663"/>
          </a:xfrm>
          <a:custGeom>
            <a:avLst/>
            <a:gdLst>
              <a:gd name="T0" fmla="*/ 2255 w 4511"/>
              <a:gd name="T1" fmla="*/ 4166 h 4166"/>
              <a:gd name="T2" fmla="*/ 0 w 4511"/>
              <a:gd name="T3" fmla="*/ 4166 h 4166"/>
              <a:gd name="T4" fmla="*/ 1129 w 4511"/>
              <a:gd name="T5" fmla="*/ 2083 h 4166"/>
              <a:gd name="T6" fmla="*/ 2255 w 4511"/>
              <a:gd name="T7" fmla="*/ 0 h 4166"/>
              <a:gd name="T8" fmla="*/ 3383 w 4511"/>
              <a:gd name="T9" fmla="*/ 2083 h 4166"/>
              <a:gd name="T10" fmla="*/ 4511 w 4511"/>
              <a:gd name="T11" fmla="*/ 4166 h 4166"/>
              <a:gd name="T12" fmla="*/ 2255 w 4511"/>
              <a:gd name="T13" fmla="*/ 4166 h 4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11" h="4166">
                <a:moveTo>
                  <a:pt x="2255" y="4166"/>
                </a:moveTo>
                <a:lnTo>
                  <a:pt x="0" y="4166"/>
                </a:lnTo>
                <a:lnTo>
                  <a:pt x="1129" y="2083"/>
                </a:lnTo>
                <a:lnTo>
                  <a:pt x="2255" y="0"/>
                </a:lnTo>
                <a:lnTo>
                  <a:pt x="3383" y="2083"/>
                </a:lnTo>
                <a:lnTo>
                  <a:pt x="4511" y="4166"/>
                </a:lnTo>
                <a:lnTo>
                  <a:pt x="2255" y="416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Freeform 15">
            <a:extLst>
              <a:ext uri="{FF2B5EF4-FFF2-40B4-BE49-F238E27FC236}">
                <a16:creationId xmlns:a16="http://schemas.microsoft.com/office/drawing/2014/main" id="{4FB97CC7-A2A4-4A8B-AF84-96A9519582E6}"/>
              </a:ext>
            </a:extLst>
          </p:cNvPr>
          <p:cNvSpPr>
            <a:spLocks/>
          </p:cNvSpPr>
          <p:nvPr/>
        </p:nvSpPr>
        <p:spPr bwMode="auto">
          <a:xfrm>
            <a:off x="665742" y="4546523"/>
            <a:ext cx="4071858" cy="913348"/>
          </a:xfrm>
          <a:custGeom>
            <a:avLst/>
            <a:gdLst>
              <a:gd name="T0" fmla="*/ 2186 w 4369"/>
              <a:gd name="T1" fmla="*/ 980 h 980"/>
              <a:gd name="T2" fmla="*/ 4369 w 4369"/>
              <a:gd name="T3" fmla="*/ 980 h 980"/>
              <a:gd name="T4" fmla="*/ 3844 w 4369"/>
              <a:gd name="T5" fmla="*/ 0 h 980"/>
              <a:gd name="T6" fmla="*/ 525 w 4369"/>
              <a:gd name="T7" fmla="*/ 0 h 980"/>
              <a:gd name="T8" fmla="*/ 0 w 4369"/>
              <a:gd name="T9" fmla="*/ 980 h 980"/>
              <a:gd name="T10" fmla="*/ 2186 w 4369"/>
              <a:gd name="T11" fmla="*/ 980 h 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69" h="980">
                <a:moveTo>
                  <a:pt x="2186" y="980"/>
                </a:moveTo>
                <a:lnTo>
                  <a:pt x="4369" y="980"/>
                </a:lnTo>
                <a:lnTo>
                  <a:pt x="3844" y="0"/>
                </a:lnTo>
                <a:lnTo>
                  <a:pt x="525" y="0"/>
                </a:lnTo>
                <a:lnTo>
                  <a:pt x="0" y="980"/>
                </a:lnTo>
                <a:lnTo>
                  <a:pt x="2186" y="980"/>
                </a:lnTo>
                <a:close/>
              </a:path>
            </a:pathLst>
          </a:custGeom>
          <a:solidFill>
            <a:srgbClr val="86C62A">
              <a:lumMod val="5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Freeform 16">
            <a:extLst>
              <a:ext uri="{FF2B5EF4-FFF2-40B4-BE49-F238E27FC236}">
                <a16:creationId xmlns:a16="http://schemas.microsoft.com/office/drawing/2014/main" id="{D13A3FB0-DCD3-4157-ABCA-B98F80FC3D83}"/>
              </a:ext>
            </a:extLst>
          </p:cNvPr>
          <p:cNvSpPr>
            <a:spLocks/>
          </p:cNvSpPr>
          <p:nvPr/>
        </p:nvSpPr>
        <p:spPr bwMode="auto">
          <a:xfrm>
            <a:off x="1208160" y="3393654"/>
            <a:ext cx="2841633" cy="919873"/>
          </a:xfrm>
          <a:custGeom>
            <a:avLst/>
            <a:gdLst>
              <a:gd name="T0" fmla="*/ 2519 w 3049"/>
              <a:gd name="T1" fmla="*/ 0 h 987"/>
              <a:gd name="T2" fmla="*/ 530 w 3049"/>
              <a:gd name="T3" fmla="*/ 0 h 987"/>
              <a:gd name="T4" fmla="*/ 433 w 3049"/>
              <a:gd name="T5" fmla="*/ 182 h 987"/>
              <a:gd name="T6" fmla="*/ 0 w 3049"/>
              <a:gd name="T7" fmla="*/ 987 h 987"/>
              <a:gd name="T8" fmla="*/ 3049 w 3049"/>
              <a:gd name="T9" fmla="*/ 987 h 987"/>
              <a:gd name="T10" fmla="*/ 2616 w 3049"/>
              <a:gd name="T11" fmla="*/ 182 h 987"/>
              <a:gd name="T12" fmla="*/ 2519 w 3049"/>
              <a:gd name="T13" fmla="*/ 0 h 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49" h="987">
                <a:moveTo>
                  <a:pt x="2519" y="0"/>
                </a:moveTo>
                <a:lnTo>
                  <a:pt x="530" y="0"/>
                </a:lnTo>
                <a:lnTo>
                  <a:pt x="433" y="182"/>
                </a:lnTo>
                <a:lnTo>
                  <a:pt x="0" y="987"/>
                </a:lnTo>
                <a:lnTo>
                  <a:pt x="3049" y="987"/>
                </a:lnTo>
                <a:lnTo>
                  <a:pt x="2616" y="182"/>
                </a:lnTo>
                <a:lnTo>
                  <a:pt x="2519" y="0"/>
                </a:lnTo>
                <a:close/>
              </a:path>
            </a:pathLst>
          </a:custGeom>
          <a:solidFill>
            <a:srgbClr val="86C62A">
              <a:lumMod val="75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" name="Freeform 17">
            <a:extLst>
              <a:ext uri="{FF2B5EF4-FFF2-40B4-BE49-F238E27FC236}">
                <a16:creationId xmlns:a16="http://schemas.microsoft.com/office/drawing/2014/main" id="{AB8F9847-BE12-44AE-8AC5-8AD1C7A247D6}"/>
              </a:ext>
            </a:extLst>
          </p:cNvPr>
          <p:cNvSpPr>
            <a:spLocks/>
          </p:cNvSpPr>
          <p:nvPr/>
        </p:nvSpPr>
        <p:spPr bwMode="auto">
          <a:xfrm>
            <a:off x="1834456" y="2226804"/>
            <a:ext cx="1589972" cy="921737"/>
          </a:xfrm>
          <a:custGeom>
            <a:avLst/>
            <a:gdLst>
              <a:gd name="T0" fmla="*/ 532 w 1706"/>
              <a:gd name="T1" fmla="*/ 0 h 989"/>
              <a:gd name="T2" fmla="*/ 0 w 1706"/>
              <a:gd name="T3" fmla="*/ 989 h 989"/>
              <a:gd name="T4" fmla="*/ 1706 w 1706"/>
              <a:gd name="T5" fmla="*/ 989 h 989"/>
              <a:gd name="T6" fmla="*/ 1176 w 1706"/>
              <a:gd name="T7" fmla="*/ 0 h 989"/>
              <a:gd name="T8" fmla="*/ 532 w 1706"/>
              <a:gd name="T9" fmla="*/ 0 h 9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06" h="989">
                <a:moveTo>
                  <a:pt x="532" y="0"/>
                </a:moveTo>
                <a:lnTo>
                  <a:pt x="0" y="989"/>
                </a:lnTo>
                <a:lnTo>
                  <a:pt x="1706" y="989"/>
                </a:lnTo>
                <a:lnTo>
                  <a:pt x="1176" y="0"/>
                </a:lnTo>
                <a:lnTo>
                  <a:pt x="532" y="0"/>
                </a:lnTo>
                <a:close/>
              </a:path>
            </a:pathLst>
          </a:custGeom>
          <a:solidFill>
            <a:srgbClr val="86C62A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C2D488-0C9A-48FD-A6F1-A46A78D12AC8}"/>
              </a:ext>
            </a:extLst>
          </p:cNvPr>
          <p:cNvSpPr/>
          <p:nvPr/>
        </p:nvSpPr>
        <p:spPr>
          <a:xfrm>
            <a:off x="2352836" y="2411066"/>
            <a:ext cx="553212" cy="55321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C10C7E3-650B-490A-A376-1ACE27944673}"/>
              </a:ext>
            </a:extLst>
          </p:cNvPr>
          <p:cNvSpPr/>
          <p:nvPr/>
        </p:nvSpPr>
        <p:spPr>
          <a:xfrm>
            <a:off x="2352370" y="3576984"/>
            <a:ext cx="553212" cy="55321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FCA6AD8-5801-4C61-91BA-9C3F20D64487}"/>
              </a:ext>
            </a:extLst>
          </p:cNvPr>
          <p:cNvSpPr/>
          <p:nvPr/>
        </p:nvSpPr>
        <p:spPr>
          <a:xfrm>
            <a:off x="2352370" y="4726591"/>
            <a:ext cx="553212" cy="55321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DA77DF9-607F-4652-8FCA-815908D1F3F9}"/>
              </a:ext>
            </a:extLst>
          </p:cNvPr>
          <p:cNvCxnSpPr/>
          <p:nvPr/>
        </p:nvCxnSpPr>
        <p:spPr>
          <a:xfrm>
            <a:off x="3860800" y="3327400"/>
            <a:ext cx="7785100" cy="0"/>
          </a:xfrm>
          <a:prstGeom prst="line">
            <a:avLst/>
          </a:prstGeom>
          <a:ln w="9525">
            <a:solidFill>
              <a:schemeClr val="bg1">
                <a:alpha val="9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CF83879-4289-4188-9918-DCA3CF4817DF}"/>
              </a:ext>
            </a:extLst>
          </p:cNvPr>
          <p:cNvCxnSpPr>
            <a:cxnSpLocks/>
          </p:cNvCxnSpPr>
          <p:nvPr/>
        </p:nvCxnSpPr>
        <p:spPr>
          <a:xfrm>
            <a:off x="4635500" y="4428394"/>
            <a:ext cx="7010400" cy="0"/>
          </a:xfrm>
          <a:prstGeom prst="line">
            <a:avLst/>
          </a:prstGeom>
          <a:ln w="9525">
            <a:solidFill>
              <a:schemeClr val="bg1">
                <a:alpha val="9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2411459-6519-4A47-A604-ADA039ED2C80}"/>
              </a:ext>
            </a:extLst>
          </p:cNvPr>
          <p:cNvGrpSpPr/>
          <p:nvPr/>
        </p:nvGrpSpPr>
        <p:grpSpPr>
          <a:xfrm>
            <a:off x="2487092" y="2557130"/>
            <a:ext cx="284701" cy="261085"/>
            <a:chOff x="7005638" y="2909888"/>
            <a:chExt cx="344488" cy="315913"/>
          </a:xfrm>
        </p:grpSpPr>
        <p:sp>
          <p:nvSpPr>
            <p:cNvPr id="32" name="Oval 302">
              <a:extLst>
                <a:ext uri="{FF2B5EF4-FFF2-40B4-BE49-F238E27FC236}">
                  <a16:creationId xmlns:a16="http://schemas.microsoft.com/office/drawing/2014/main" id="{DE9DE690-A06F-4E11-9616-020FF4004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303">
              <a:extLst>
                <a:ext uri="{FF2B5EF4-FFF2-40B4-BE49-F238E27FC236}">
                  <a16:creationId xmlns:a16="http://schemas.microsoft.com/office/drawing/2014/main" id="{62091CC7-F223-4E40-81DB-9882458F02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304">
              <a:extLst>
                <a:ext uri="{FF2B5EF4-FFF2-40B4-BE49-F238E27FC236}">
                  <a16:creationId xmlns:a16="http://schemas.microsoft.com/office/drawing/2014/main" id="{312088E0-BEBF-41F8-BDE7-67F1F33D8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305">
              <a:extLst>
                <a:ext uri="{FF2B5EF4-FFF2-40B4-BE49-F238E27FC236}">
                  <a16:creationId xmlns:a16="http://schemas.microsoft.com/office/drawing/2014/main" id="{A8FDA677-5029-47DE-8F10-10C705230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306">
              <a:extLst>
                <a:ext uri="{FF2B5EF4-FFF2-40B4-BE49-F238E27FC236}">
                  <a16:creationId xmlns:a16="http://schemas.microsoft.com/office/drawing/2014/main" id="{2882EC67-4B41-4E69-885C-E4AB031D5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307">
              <a:extLst>
                <a:ext uri="{FF2B5EF4-FFF2-40B4-BE49-F238E27FC236}">
                  <a16:creationId xmlns:a16="http://schemas.microsoft.com/office/drawing/2014/main" id="{3799F7F5-C91B-4EFC-8F1D-F4C0E8A98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08">
              <a:extLst>
                <a:ext uri="{FF2B5EF4-FFF2-40B4-BE49-F238E27FC236}">
                  <a16:creationId xmlns:a16="http://schemas.microsoft.com/office/drawing/2014/main" id="{AE5AB66B-556F-4B09-83E1-621C6E64B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277ADCE-4E9F-4709-9747-172873C43041}"/>
              </a:ext>
            </a:extLst>
          </p:cNvPr>
          <p:cNvGrpSpPr/>
          <p:nvPr/>
        </p:nvGrpSpPr>
        <p:grpSpPr>
          <a:xfrm>
            <a:off x="2489250" y="3710583"/>
            <a:ext cx="279453" cy="286014"/>
            <a:chOff x="9175750" y="3617913"/>
            <a:chExt cx="338138" cy="346076"/>
          </a:xfrm>
        </p:grpSpPr>
        <p:sp>
          <p:nvSpPr>
            <p:cNvPr id="40" name="Oval 326">
              <a:extLst>
                <a:ext uri="{FF2B5EF4-FFF2-40B4-BE49-F238E27FC236}">
                  <a16:creationId xmlns:a16="http://schemas.microsoft.com/office/drawing/2014/main" id="{4EF07F6C-C682-4E08-A823-7FCEA3E99B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5913" y="3617913"/>
              <a:ext cx="106363" cy="104775"/>
            </a:xfrm>
            <a:prstGeom prst="ellipse">
              <a:avLst/>
            </a:prstGeom>
            <a:noFill/>
            <a:ln w="12700" cap="flat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327">
              <a:extLst>
                <a:ext uri="{FF2B5EF4-FFF2-40B4-BE49-F238E27FC236}">
                  <a16:creationId xmlns:a16="http://schemas.microsoft.com/office/drawing/2014/main" id="{E3A4BCCD-4DC7-4168-9808-7EBB0D0CB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5750" y="3752851"/>
              <a:ext cx="165100" cy="211138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7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2700" cap="flat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328">
              <a:extLst>
                <a:ext uri="{FF2B5EF4-FFF2-40B4-BE49-F238E27FC236}">
                  <a16:creationId xmlns:a16="http://schemas.microsoft.com/office/drawing/2014/main" id="{576C1C46-A66A-44E4-A668-9F2DF8373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013" y="3752851"/>
              <a:ext cx="30163" cy="104775"/>
            </a:xfrm>
            <a:custGeom>
              <a:avLst/>
              <a:gdLst>
                <a:gd name="T0" fmla="*/ 14 w 19"/>
                <a:gd name="T1" fmla="*/ 0 h 66"/>
                <a:gd name="T2" fmla="*/ 5 w 19"/>
                <a:gd name="T3" fmla="*/ 0 h 66"/>
                <a:gd name="T4" fmla="*/ 0 w 19"/>
                <a:gd name="T5" fmla="*/ 57 h 66"/>
                <a:gd name="T6" fmla="*/ 9 w 19"/>
                <a:gd name="T7" fmla="*/ 66 h 66"/>
                <a:gd name="T8" fmla="*/ 19 w 19"/>
                <a:gd name="T9" fmla="*/ 57 h 66"/>
                <a:gd name="T10" fmla="*/ 14 w 19"/>
                <a:gd name="T11" fmla="*/ 0 h 66"/>
                <a:gd name="T12" fmla="*/ 14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5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12700" cap="flat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329">
              <a:extLst>
                <a:ext uri="{FF2B5EF4-FFF2-40B4-BE49-F238E27FC236}">
                  <a16:creationId xmlns:a16="http://schemas.microsoft.com/office/drawing/2014/main" id="{47F33CE0-6829-4996-895F-EDA01AFD33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6725" y="3643313"/>
              <a:ext cx="55563" cy="60325"/>
            </a:xfrm>
            <a:prstGeom prst="line">
              <a:avLst/>
            </a:prstGeom>
            <a:noFill/>
            <a:ln w="12700" cap="rnd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330">
              <a:extLst>
                <a:ext uri="{FF2B5EF4-FFF2-40B4-BE49-F238E27FC236}">
                  <a16:creationId xmlns:a16="http://schemas.microsoft.com/office/drawing/2014/main" id="{118922BD-44F0-48D8-8462-9F4AB20017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56725" y="3643313"/>
              <a:ext cx="55563" cy="60325"/>
            </a:xfrm>
            <a:prstGeom prst="line">
              <a:avLst/>
            </a:prstGeom>
            <a:noFill/>
            <a:ln w="12700" cap="rnd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Oval 331">
              <a:extLst>
                <a:ext uri="{FF2B5EF4-FFF2-40B4-BE49-F238E27FC236}">
                  <a16:creationId xmlns:a16="http://schemas.microsoft.com/office/drawing/2014/main" id="{427C306F-4FCB-4A91-8BFB-E13CFA3FFE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3563" y="3752851"/>
              <a:ext cx="60325" cy="60325"/>
            </a:xfrm>
            <a:prstGeom prst="ellipse">
              <a:avLst/>
            </a:prstGeom>
            <a:noFill/>
            <a:ln w="12700" cap="rnd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32">
              <a:extLst>
                <a:ext uri="{FF2B5EF4-FFF2-40B4-BE49-F238E27FC236}">
                  <a16:creationId xmlns:a16="http://schemas.microsoft.com/office/drawing/2014/main" id="{DA673063-8569-4BD7-ABD7-18937D652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6888" y="3689351"/>
              <a:ext cx="112713" cy="96838"/>
            </a:xfrm>
            <a:custGeom>
              <a:avLst/>
              <a:gdLst>
                <a:gd name="T0" fmla="*/ 0 w 30"/>
                <a:gd name="T1" fmla="*/ 26 h 26"/>
                <a:gd name="T2" fmla="*/ 30 w 30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" h="26">
                  <a:moveTo>
                    <a:pt x="0" y="26"/>
                  </a:moveTo>
                  <a:cubicBezTo>
                    <a:pt x="6" y="14"/>
                    <a:pt x="17" y="4"/>
                    <a:pt x="30" y="0"/>
                  </a:cubicBezTo>
                </a:path>
              </a:pathLst>
            </a:custGeom>
            <a:noFill/>
            <a:ln w="12700" cap="rnd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33">
              <a:extLst>
                <a:ext uri="{FF2B5EF4-FFF2-40B4-BE49-F238E27FC236}">
                  <a16:creationId xmlns:a16="http://schemas.microsoft.com/office/drawing/2014/main" id="{A96A17D1-C37B-4287-A135-17906DB16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3563" y="3676651"/>
              <a:ext cx="46038" cy="49213"/>
            </a:xfrm>
            <a:custGeom>
              <a:avLst/>
              <a:gdLst>
                <a:gd name="T0" fmla="*/ 0 w 29"/>
                <a:gd name="T1" fmla="*/ 0 h 31"/>
                <a:gd name="T2" fmla="*/ 29 w 29"/>
                <a:gd name="T3" fmla="*/ 8 h 31"/>
                <a:gd name="T4" fmla="*/ 17 w 29"/>
                <a:gd name="T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31">
                  <a:moveTo>
                    <a:pt x="0" y="0"/>
                  </a:moveTo>
                  <a:lnTo>
                    <a:pt x="29" y="8"/>
                  </a:lnTo>
                  <a:lnTo>
                    <a:pt x="17" y="31"/>
                  </a:lnTo>
                </a:path>
              </a:pathLst>
            </a:custGeom>
            <a:noFill/>
            <a:ln w="12700" cap="rnd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AB00F81-94E6-4588-BC7C-8C404A361A22}"/>
              </a:ext>
            </a:extLst>
          </p:cNvPr>
          <p:cNvGrpSpPr/>
          <p:nvPr/>
        </p:nvGrpSpPr>
        <p:grpSpPr>
          <a:xfrm>
            <a:off x="2492530" y="4860191"/>
            <a:ext cx="272893" cy="286013"/>
            <a:chOff x="2678113" y="1811338"/>
            <a:chExt cx="330200" cy="346075"/>
          </a:xfrm>
        </p:grpSpPr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5623ECC7-94C6-48AD-9F50-F18683664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563" y="1841501"/>
              <a:ext cx="241300" cy="180975"/>
            </a:xfrm>
            <a:custGeom>
              <a:avLst/>
              <a:gdLst>
                <a:gd name="T0" fmla="*/ 152 w 152"/>
                <a:gd name="T1" fmla="*/ 0 h 114"/>
                <a:gd name="T2" fmla="*/ 152 w 152"/>
                <a:gd name="T3" fmla="*/ 114 h 114"/>
                <a:gd name="T4" fmla="*/ 81 w 152"/>
                <a:gd name="T5" fmla="*/ 114 h 114"/>
                <a:gd name="T6" fmla="*/ 0 w 152"/>
                <a:gd name="T7" fmla="*/ 114 h 114"/>
                <a:gd name="T8" fmla="*/ 0 w 152"/>
                <a:gd name="T9" fmla="*/ 0 h 114"/>
                <a:gd name="T10" fmla="*/ 152 w 152"/>
                <a:gd name="T1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14">
                  <a:moveTo>
                    <a:pt x="152" y="0"/>
                  </a:moveTo>
                  <a:lnTo>
                    <a:pt x="152" y="114"/>
                  </a:lnTo>
                  <a:lnTo>
                    <a:pt x="81" y="114"/>
                  </a:lnTo>
                  <a:lnTo>
                    <a:pt x="0" y="114"/>
                  </a:lnTo>
                  <a:lnTo>
                    <a:pt x="0" y="0"/>
                  </a:lnTo>
                  <a:lnTo>
                    <a:pt x="152" y="0"/>
                  </a:lnTo>
                  <a:close/>
                </a:path>
              </a:pathLst>
            </a:custGeom>
            <a:noFill/>
            <a:ln w="12700" cap="rnd">
              <a:solidFill>
                <a:srgbClr val="4363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CCC97218-4FC9-46BA-8EA3-7B1AE0A20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1" y="1811338"/>
              <a:ext cx="301625" cy="239713"/>
            </a:xfrm>
            <a:custGeom>
              <a:avLst/>
              <a:gdLst>
                <a:gd name="T0" fmla="*/ 0 w 80"/>
                <a:gd name="T1" fmla="*/ 64 h 64"/>
                <a:gd name="T2" fmla="*/ 0 w 80"/>
                <a:gd name="T3" fmla="*/ 6 h 64"/>
                <a:gd name="T4" fmla="*/ 6 w 80"/>
                <a:gd name="T5" fmla="*/ 0 h 64"/>
                <a:gd name="T6" fmla="*/ 74 w 80"/>
                <a:gd name="T7" fmla="*/ 0 h 64"/>
                <a:gd name="T8" fmla="*/ 80 w 80"/>
                <a:gd name="T9" fmla="*/ 6 h 64"/>
                <a:gd name="T10" fmla="*/ 80 w 80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64">
                  <a:moveTo>
                    <a:pt x="0" y="64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7" y="0"/>
                    <a:pt x="80" y="3"/>
                    <a:pt x="80" y="6"/>
                  </a:cubicBezTo>
                  <a:cubicBezTo>
                    <a:pt x="80" y="64"/>
                    <a:pt x="80" y="64"/>
                    <a:pt x="80" y="64"/>
                  </a:cubicBezTo>
                </a:path>
              </a:pathLst>
            </a:custGeom>
            <a:noFill/>
            <a:ln w="12700" cap="rnd">
              <a:solidFill>
                <a:srgbClr val="4363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32">
              <a:extLst>
                <a:ext uri="{FF2B5EF4-FFF2-40B4-BE49-F238E27FC236}">
                  <a16:creationId xmlns:a16="http://schemas.microsoft.com/office/drawing/2014/main" id="{90F9F30A-A74E-4B41-9B23-84B52F959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2051051"/>
              <a:ext cx="330200" cy="46038"/>
            </a:xfrm>
            <a:custGeom>
              <a:avLst/>
              <a:gdLst>
                <a:gd name="T0" fmla="*/ 52 w 88"/>
                <a:gd name="T1" fmla="*/ 0 h 12"/>
                <a:gd name="T2" fmla="*/ 52 w 88"/>
                <a:gd name="T3" fmla="*/ 4 h 12"/>
                <a:gd name="T4" fmla="*/ 36 w 88"/>
                <a:gd name="T5" fmla="*/ 4 h 12"/>
                <a:gd name="T6" fmla="*/ 36 w 88"/>
                <a:gd name="T7" fmla="*/ 0 h 12"/>
                <a:gd name="T8" fmla="*/ 0 w 88"/>
                <a:gd name="T9" fmla="*/ 0 h 12"/>
                <a:gd name="T10" fmla="*/ 0 w 88"/>
                <a:gd name="T11" fmla="*/ 8 h 12"/>
                <a:gd name="T12" fmla="*/ 4 w 88"/>
                <a:gd name="T13" fmla="*/ 12 h 12"/>
                <a:gd name="T14" fmla="*/ 84 w 88"/>
                <a:gd name="T15" fmla="*/ 12 h 12"/>
                <a:gd name="T16" fmla="*/ 88 w 88"/>
                <a:gd name="T17" fmla="*/ 8 h 12"/>
                <a:gd name="T18" fmla="*/ 88 w 88"/>
                <a:gd name="T19" fmla="*/ 0 h 12"/>
                <a:gd name="T20" fmla="*/ 52 w 88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12">
                  <a:moveTo>
                    <a:pt x="52" y="0"/>
                  </a:moveTo>
                  <a:cubicBezTo>
                    <a:pt x="52" y="4"/>
                    <a:pt x="52" y="4"/>
                    <a:pt x="52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2"/>
                    <a:pt x="4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6" y="12"/>
                    <a:pt x="88" y="10"/>
                    <a:pt x="88" y="8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52" y="0"/>
                  </a:lnTo>
                  <a:close/>
                </a:path>
              </a:pathLst>
            </a:custGeom>
            <a:noFill/>
            <a:ln w="12700" cap="rnd">
              <a:solidFill>
                <a:srgbClr val="4363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33">
              <a:extLst>
                <a:ext uri="{FF2B5EF4-FFF2-40B4-BE49-F238E27FC236}">
                  <a16:creationId xmlns:a16="http://schemas.microsoft.com/office/drawing/2014/main" id="{C4B99632-7646-4622-B1D0-371D1A2792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8113" y="2157413"/>
              <a:ext cx="330200" cy="0"/>
            </a:xfrm>
            <a:prstGeom prst="line">
              <a:avLst/>
            </a:prstGeom>
            <a:noFill/>
            <a:ln w="12700" cap="rnd">
              <a:solidFill>
                <a:srgbClr val="4363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Line 34">
              <a:extLst>
                <a:ext uri="{FF2B5EF4-FFF2-40B4-BE49-F238E27FC236}">
                  <a16:creationId xmlns:a16="http://schemas.microsoft.com/office/drawing/2014/main" id="{EAEEBCC0-DAF1-4B6C-AF8A-DFB2F6BFBA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43213" y="2097088"/>
              <a:ext cx="0" cy="60325"/>
            </a:xfrm>
            <a:prstGeom prst="line">
              <a:avLst/>
            </a:prstGeom>
            <a:noFill/>
            <a:ln w="12700" cap="rnd">
              <a:solidFill>
                <a:srgbClr val="4363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1197717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9C6C1A-CC46-49E0-8B36-911BF059A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327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032494-635C-4085-9607-0EB38CE1E6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82" name="Picture 81" descr="A group of people in a room&#10;&#10;Description automatically generated">
            <a:extLst>
              <a:ext uri="{FF2B5EF4-FFF2-40B4-BE49-F238E27FC236}">
                <a16:creationId xmlns:a16="http://schemas.microsoft.com/office/drawing/2014/main" id="{B17B47F8-1465-4F83-B822-7CFC75CAC90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62" t="29179" r="238" b="19779"/>
          <a:stretch/>
        </p:blipFill>
        <p:spPr>
          <a:xfrm>
            <a:off x="0" y="1549802"/>
            <a:ext cx="12191189" cy="4698598"/>
          </a:xfrm>
          <a:prstGeom prst="rect">
            <a:avLst/>
          </a:prstGeom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6C4BD869-642F-45CC-B792-9FC3017D4224}"/>
              </a:ext>
            </a:extLst>
          </p:cNvPr>
          <p:cNvSpPr/>
          <p:nvPr/>
        </p:nvSpPr>
        <p:spPr>
          <a:xfrm>
            <a:off x="0" y="1549802"/>
            <a:ext cx="12192000" cy="4698597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75000"/>
                  <a:lumOff val="25000"/>
                  <a:alpha val="70000"/>
                </a:schemeClr>
              </a:gs>
              <a:gs pos="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8CB776-4DCA-49EE-BD0A-E928717EBB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89F660-3161-4DD0-B96F-BD83845F037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r>
              <a:rPr lang="en-US" dirty="0"/>
              <a:t>Bright view of the futur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3646BE0-1175-4806-A0B3-5E1726A6477B}"/>
              </a:ext>
            </a:extLst>
          </p:cNvPr>
          <p:cNvCxnSpPr>
            <a:cxnSpLocks/>
          </p:cNvCxnSpPr>
          <p:nvPr/>
        </p:nvCxnSpPr>
        <p:spPr>
          <a:xfrm>
            <a:off x="0" y="2038350"/>
            <a:ext cx="1064895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Arc 5">
            <a:extLst>
              <a:ext uri="{FF2B5EF4-FFF2-40B4-BE49-F238E27FC236}">
                <a16:creationId xmlns:a16="http://schemas.microsoft.com/office/drawing/2014/main" id="{C5A3826C-1458-4DF8-96A2-05D6E1FFE1CB}"/>
              </a:ext>
            </a:extLst>
          </p:cNvPr>
          <p:cNvSpPr/>
          <p:nvPr/>
        </p:nvSpPr>
        <p:spPr>
          <a:xfrm flipH="1">
            <a:off x="538896" y="3924300"/>
            <a:ext cx="1914525" cy="1914525"/>
          </a:xfrm>
          <a:prstGeom prst="arc">
            <a:avLst>
              <a:gd name="adj1" fmla="val 16200000"/>
              <a:gd name="adj2" fmla="val 520266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c 13">
            <a:extLst>
              <a:ext uri="{FF2B5EF4-FFF2-40B4-BE49-F238E27FC236}">
                <a16:creationId xmlns:a16="http://schemas.microsoft.com/office/drawing/2014/main" id="{7ED0A219-CDB1-4FA7-9274-636445B50838}"/>
              </a:ext>
            </a:extLst>
          </p:cNvPr>
          <p:cNvSpPr/>
          <p:nvPr/>
        </p:nvSpPr>
        <p:spPr>
          <a:xfrm>
            <a:off x="9649478" y="2038350"/>
            <a:ext cx="1914525" cy="1914525"/>
          </a:xfrm>
          <a:prstGeom prst="arc">
            <a:avLst>
              <a:gd name="adj1" fmla="val 16200000"/>
              <a:gd name="adj2" fmla="val 459141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02D212-508E-4B79-971B-CA3E4C3E5C17}"/>
              </a:ext>
            </a:extLst>
          </p:cNvPr>
          <p:cNvCxnSpPr>
            <a:cxnSpLocks/>
          </p:cNvCxnSpPr>
          <p:nvPr/>
        </p:nvCxnSpPr>
        <p:spPr>
          <a:xfrm>
            <a:off x="1473200" y="3924300"/>
            <a:ext cx="936625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E5D7F59-ECBA-4813-BE74-0C4602393859}"/>
              </a:ext>
            </a:extLst>
          </p:cNvPr>
          <p:cNvSpPr txBox="1">
            <a:spLocks/>
          </p:cNvSpPr>
          <p:nvPr/>
        </p:nvSpPr>
        <p:spPr bwMode="auto">
          <a:xfrm>
            <a:off x="1838327" y="4624388"/>
            <a:ext cx="39624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Oval 2068">
            <a:extLst>
              <a:ext uri="{FF2B5EF4-FFF2-40B4-BE49-F238E27FC236}">
                <a16:creationId xmlns:a16="http://schemas.microsoft.com/office/drawing/2014/main" id="{A5C51EC4-EB33-432A-8BA3-48C49EFE2A33}"/>
              </a:ext>
            </a:extLst>
          </p:cNvPr>
          <p:cNvSpPr/>
          <p:nvPr/>
        </p:nvSpPr>
        <p:spPr bwMode="auto">
          <a:xfrm flipV="1">
            <a:off x="1782763" y="1708150"/>
            <a:ext cx="681038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7980BA7-559C-4327-8555-B81880F6F92B}"/>
              </a:ext>
            </a:extLst>
          </p:cNvPr>
          <p:cNvSpPr/>
          <p:nvPr/>
        </p:nvSpPr>
        <p:spPr bwMode="auto">
          <a:xfrm flipV="1">
            <a:off x="1862139" y="1783948"/>
            <a:ext cx="522286" cy="529442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5A419CF-3F68-4FE8-9A33-134BF8185123}"/>
              </a:ext>
            </a:extLst>
          </p:cNvPr>
          <p:cNvGrpSpPr/>
          <p:nvPr/>
        </p:nvGrpSpPr>
        <p:grpSpPr>
          <a:xfrm>
            <a:off x="2033986" y="1939917"/>
            <a:ext cx="178593" cy="217505"/>
            <a:chOff x="7035801" y="2173289"/>
            <a:chExt cx="284162" cy="346075"/>
          </a:xfrm>
        </p:grpSpPr>
        <p:sp>
          <p:nvSpPr>
            <p:cNvPr id="58" name="Freeform 125">
              <a:extLst>
                <a:ext uri="{FF2B5EF4-FFF2-40B4-BE49-F238E27FC236}">
                  <a16:creationId xmlns:a16="http://schemas.microsoft.com/office/drawing/2014/main" id="{8C1A7E78-C668-4D05-83A0-812DDF3AB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2173289"/>
              <a:ext cx="269875" cy="346075"/>
            </a:xfrm>
            <a:custGeom>
              <a:avLst/>
              <a:gdLst>
                <a:gd name="T0" fmla="*/ 72 w 72"/>
                <a:gd name="T1" fmla="*/ 0 h 92"/>
                <a:gd name="T2" fmla="*/ 8 w 72"/>
                <a:gd name="T3" fmla="*/ 0 h 92"/>
                <a:gd name="T4" fmla="*/ 0 w 72"/>
                <a:gd name="T5" fmla="*/ 8 h 92"/>
                <a:gd name="T6" fmla="*/ 8 w 72"/>
                <a:gd name="T7" fmla="*/ 16 h 92"/>
                <a:gd name="T8" fmla="*/ 72 w 72"/>
                <a:gd name="T9" fmla="*/ 16 h 92"/>
                <a:gd name="T10" fmla="*/ 72 w 72"/>
                <a:gd name="T11" fmla="*/ 92 h 92"/>
                <a:gd name="T12" fmla="*/ 8 w 72"/>
                <a:gd name="T13" fmla="*/ 92 h 92"/>
                <a:gd name="T14" fmla="*/ 0 w 72"/>
                <a:gd name="T15" fmla="*/ 84 h 92"/>
                <a:gd name="T16" fmla="*/ 0 w 72"/>
                <a:gd name="T17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92">
                  <a:moveTo>
                    <a:pt x="7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126">
              <a:extLst>
                <a:ext uri="{FF2B5EF4-FFF2-40B4-BE49-F238E27FC236}">
                  <a16:creationId xmlns:a16="http://schemas.microsoft.com/office/drawing/2014/main" id="{691D9DE0-4B1A-4AC0-822B-A72831A950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0251" y="2203451"/>
              <a:ext cx="2254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Line 127">
              <a:extLst>
                <a:ext uri="{FF2B5EF4-FFF2-40B4-BE49-F238E27FC236}">
                  <a16:creationId xmlns:a16="http://schemas.microsoft.com/office/drawing/2014/main" id="{46B54FF8-0BD2-4EC9-A244-BD3B66F529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278064"/>
              <a:ext cx="30163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Line 128">
              <a:extLst>
                <a:ext uri="{FF2B5EF4-FFF2-40B4-BE49-F238E27FC236}">
                  <a16:creationId xmlns:a16="http://schemas.microsoft.com/office/drawing/2014/main" id="{722F5A7B-5FED-4D55-A451-3FF318D8D8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324101"/>
              <a:ext cx="30163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29">
              <a:extLst>
                <a:ext uri="{FF2B5EF4-FFF2-40B4-BE49-F238E27FC236}">
                  <a16:creationId xmlns:a16="http://schemas.microsoft.com/office/drawing/2014/main" id="{1088BC5A-526C-4516-B743-DE52E61A9A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368551"/>
              <a:ext cx="30163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Line 130">
              <a:extLst>
                <a:ext uri="{FF2B5EF4-FFF2-40B4-BE49-F238E27FC236}">
                  <a16:creationId xmlns:a16="http://schemas.microsoft.com/office/drawing/2014/main" id="{EB7865C7-C1B3-486D-B667-30460A2EBA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413001"/>
              <a:ext cx="30163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Line 131">
              <a:extLst>
                <a:ext uri="{FF2B5EF4-FFF2-40B4-BE49-F238E27FC236}">
                  <a16:creationId xmlns:a16="http://schemas.microsoft.com/office/drawing/2014/main" id="{A263DD81-EA2D-4806-AAE1-557231597F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459039"/>
              <a:ext cx="30163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132">
              <a:extLst>
                <a:ext uri="{FF2B5EF4-FFF2-40B4-BE49-F238E27FC236}">
                  <a16:creationId xmlns:a16="http://schemas.microsoft.com/office/drawing/2014/main" id="{1ACC732C-23A0-4A7C-9D03-95DC14E86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2382839"/>
              <a:ext cx="149225" cy="76200"/>
            </a:xfrm>
            <a:custGeom>
              <a:avLst/>
              <a:gdLst>
                <a:gd name="T0" fmla="*/ 26 w 40"/>
                <a:gd name="T1" fmla="*/ 0 h 20"/>
                <a:gd name="T2" fmla="*/ 26 w 40"/>
                <a:gd name="T3" fmla="*/ 6 h 20"/>
                <a:gd name="T4" fmla="*/ 36 w 40"/>
                <a:gd name="T5" fmla="*/ 9 h 20"/>
                <a:gd name="T6" fmla="*/ 40 w 40"/>
                <a:gd name="T7" fmla="*/ 14 h 20"/>
                <a:gd name="T8" fmla="*/ 40 w 40"/>
                <a:gd name="T9" fmla="*/ 20 h 20"/>
                <a:gd name="T10" fmla="*/ 0 w 40"/>
                <a:gd name="T11" fmla="*/ 20 h 20"/>
                <a:gd name="T12" fmla="*/ 0 w 40"/>
                <a:gd name="T13" fmla="*/ 14 h 20"/>
                <a:gd name="T14" fmla="*/ 4 w 40"/>
                <a:gd name="T15" fmla="*/ 9 h 20"/>
                <a:gd name="T16" fmla="*/ 14 w 40"/>
                <a:gd name="T17" fmla="*/ 6 h 20"/>
                <a:gd name="T18" fmla="*/ 14 w 40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20">
                  <a:moveTo>
                    <a:pt x="26" y="0"/>
                  </a:moveTo>
                  <a:cubicBezTo>
                    <a:pt x="26" y="6"/>
                    <a:pt x="26" y="6"/>
                    <a:pt x="26" y="6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8" y="10"/>
                    <a:pt x="40" y="12"/>
                    <a:pt x="40" y="14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2"/>
                    <a:pt x="2" y="10"/>
                    <a:pt x="4" y="9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Oval 133">
              <a:extLst>
                <a:ext uri="{FF2B5EF4-FFF2-40B4-BE49-F238E27FC236}">
                  <a16:creationId xmlns:a16="http://schemas.microsoft.com/office/drawing/2014/main" id="{C53517C1-8C41-4F70-A584-DCBF784A4A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8513" y="2293939"/>
              <a:ext cx="88900" cy="9683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134">
              <a:extLst>
                <a:ext uri="{FF2B5EF4-FFF2-40B4-BE49-F238E27FC236}">
                  <a16:creationId xmlns:a16="http://schemas.microsoft.com/office/drawing/2014/main" id="{38AACF4A-B4C1-4711-8A10-BB4BA6A23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2327276"/>
              <a:ext cx="88900" cy="14288"/>
            </a:xfrm>
            <a:custGeom>
              <a:avLst/>
              <a:gdLst>
                <a:gd name="T0" fmla="*/ 24 w 24"/>
                <a:gd name="T1" fmla="*/ 2 h 4"/>
                <a:gd name="T2" fmla="*/ 14 w 24"/>
                <a:gd name="T3" fmla="*/ 0 h 4"/>
                <a:gd name="T4" fmla="*/ 0 w 2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2" y="4"/>
                    <a:pt x="16" y="4"/>
                    <a:pt x="14" y="0"/>
                  </a:cubicBezTo>
                  <a:cubicBezTo>
                    <a:pt x="10" y="4"/>
                    <a:pt x="3" y="4"/>
                    <a:pt x="0" y="1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5" name="Oval 44">
            <a:extLst>
              <a:ext uri="{FF2B5EF4-FFF2-40B4-BE49-F238E27FC236}">
                <a16:creationId xmlns:a16="http://schemas.microsoft.com/office/drawing/2014/main" id="{573D6F05-094E-4E3A-ABE5-C15EF13E2026}"/>
              </a:ext>
            </a:extLst>
          </p:cNvPr>
          <p:cNvSpPr/>
          <p:nvPr/>
        </p:nvSpPr>
        <p:spPr bwMode="auto">
          <a:xfrm flipV="1">
            <a:off x="6697663" y="1708150"/>
            <a:ext cx="681038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B7C4F7E-E559-4D02-BC03-8234FA3E1664}"/>
              </a:ext>
            </a:extLst>
          </p:cNvPr>
          <p:cNvSpPr/>
          <p:nvPr/>
        </p:nvSpPr>
        <p:spPr bwMode="auto">
          <a:xfrm flipV="1">
            <a:off x="6777039" y="1783948"/>
            <a:ext cx="522286" cy="529442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3C48F05-5D29-4F39-8078-6D09D7039B8C}"/>
              </a:ext>
            </a:extLst>
          </p:cNvPr>
          <p:cNvGrpSpPr/>
          <p:nvPr/>
        </p:nvGrpSpPr>
        <p:grpSpPr>
          <a:xfrm>
            <a:off x="6927455" y="1930343"/>
            <a:ext cx="221455" cy="236652"/>
            <a:chOff x="6291263" y="4338639"/>
            <a:chExt cx="323851" cy="346075"/>
          </a:xfrm>
        </p:grpSpPr>
        <p:sp>
          <p:nvSpPr>
            <p:cNvPr id="48" name="Oval 151">
              <a:extLst>
                <a:ext uri="{FF2B5EF4-FFF2-40B4-BE49-F238E27FC236}">
                  <a16:creationId xmlns:a16="http://schemas.microsoft.com/office/drawing/2014/main" id="{06D9C9EC-4B91-489B-BD93-26CD346765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1426" y="4338639"/>
              <a:ext cx="104775" cy="106363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152">
              <a:extLst>
                <a:ext uri="{FF2B5EF4-FFF2-40B4-BE49-F238E27FC236}">
                  <a16:creationId xmlns:a16="http://schemas.microsoft.com/office/drawing/2014/main" id="{6A70C3D3-2384-401B-8AA8-A3FE94E44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651" y="4618039"/>
              <a:ext cx="60325" cy="66675"/>
            </a:xfrm>
            <a:custGeom>
              <a:avLst/>
              <a:gdLst>
                <a:gd name="T0" fmla="*/ 0 w 38"/>
                <a:gd name="T1" fmla="*/ 28 h 42"/>
                <a:gd name="T2" fmla="*/ 0 w 38"/>
                <a:gd name="T3" fmla="*/ 42 h 42"/>
                <a:gd name="T4" fmla="*/ 38 w 38"/>
                <a:gd name="T5" fmla="*/ 42 h 42"/>
                <a:gd name="T6" fmla="*/ 38 w 38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42">
                  <a:moveTo>
                    <a:pt x="0" y="28"/>
                  </a:moveTo>
                  <a:lnTo>
                    <a:pt x="0" y="42"/>
                  </a:lnTo>
                  <a:lnTo>
                    <a:pt x="38" y="42"/>
                  </a:lnTo>
                  <a:lnTo>
                    <a:pt x="38" y="0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153">
              <a:extLst>
                <a:ext uri="{FF2B5EF4-FFF2-40B4-BE49-F238E27FC236}">
                  <a16:creationId xmlns:a16="http://schemas.microsoft.com/office/drawing/2014/main" id="{2BC4AFEE-D0A0-4BA0-A116-2E3C9572C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4475164"/>
              <a:ext cx="165100" cy="112713"/>
            </a:xfrm>
            <a:custGeom>
              <a:avLst/>
              <a:gdLst>
                <a:gd name="T0" fmla="*/ 42 w 44"/>
                <a:gd name="T1" fmla="*/ 14 h 30"/>
                <a:gd name="T2" fmla="*/ 44 w 44"/>
                <a:gd name="T3" fmla="*/ 0 h 30"/>
                <a:gd name="T4" fmla="*/ 0 w 44"/>
                <a:gd name="T5" fmla="*/ 0 h 30"/>
                <a:gd name="T6" fmla="*/ 14 w 44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30">
                  <a:moveTo>
                    <a:pt x="42" y="14"/>
                  </a:moveTo>
                  <a:cubicBezTo>
                    <a:pt x="43" y="10"/>
                    <a:pt x="44" y="5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6" y="26"/>
                    <a:pt x="14" y="3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Oval 154">
              <a:extLst>
                <a:ext uri="{FF2B5EF4-FFF2-40B4-BE49-F238E27FC236}">
                  <a16:creationId xmlns:a16="http://schemas.microsoft.com/office/drawing/2014/main" id="{79BC5BF3-BE8E-48CF-980A-274010C654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2401" y="4338639"/>
              <a:ext cx="44450" cy="4603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155">
              <a:extLst>
                <a:ext uri="{FF2B5EF4-FFF2-40B4-BE49-F238E27FC236}">
                  <a16:creationId xmlns:a16="http://schemas.microsoft.com/office/drawing/2014/main" id="{8593377C-6400-43BC-82D3-4B5D13CDA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526" y="4398964"/>
              <a:ext cx="74613" cy="53975"/>
            </a:xfrm>
            <a:custGeom>
              <a:avLst/>
              <a:gdLst>
                <a:gd name="T0" fmla="*/ 14 w 20"/>
                <a:gd name="T1" fmla="*/ 14 h 14"/>
                <a:gd name="T2" fmla="*/ 20 w 20"/>
                <a:gd name="T3" fmla="*/ 0 h 14"/>
                <a:gd name="T4" fmla="*/ 0 w 20"/>
                <a:gd name="T5" fmla="*/ 0 h 14"/>
                <a:gd name="T6" fmla="*/ 6 w 20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4">
                  <a:moveTo>
                    <a:pt x="14" y="14"/>
                  </a:moveTo>
                  <a:cubicBezTo>
                    <a:pt x="17" y="12"/>
                    <a:pt x="20" y="7"/>
                    <a:pt x="2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3" y="12"/>
                    <a:pt x="6" y="14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156">
              <a:extLst>
                <a:ext uri="{FF2B5EF4-FFF2-40B4-BE49-F238E27FC236}">
                  <a16:creationId xmlns:a16="http://schemas.microsoft.com/office/drawing/2014/main" id="{CAC5B108-0D19-4B06-B8A4-B2FFCB8AB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4489451"/>
              <a:ext cx="323850" cy="195263"/>
            </a:xfrm>
            <a:custGeom>
              <a:avLst/>
              <a:gdLst>
                <a:gd name="T0" fmla="*/ 0 w 204"/>
                <a:gd name="T1" fmla="*/ 123 h 123"/>
                <a:gd name="T2" fmla="*/ 85 w 204"/>
                <a:gd name="T3" fmla="*/ 38 h 123"/>
                <a:gd name="T4" fmla="*/ 133 w 204"/>
                <a:gd name="T5" fmla="*/ 76 h 123"/>
                <a:gd name="T6" fmla="*/ 204 w 204"/>
                <a:gd name="T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4" h="123">
                  <a:moveTo>
                    <a:pt x="0" y="123"/>
                  </a:moveTo>
                  <a:lnTo>
                    <a:pt x="85" y="38"/>
                  </a:lnTo>
                  <a:lnTo>
                    <a:pt x="133" y="76"/>
                  </a:lnTo>
                  <a:lnTo>
                    <a:pt x="204" y="0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57">
              <a:extLst>
                <a:ext uri="{FF2B5EF4-FFF2-40B4-BE49-F238E27FC236}">
                  <a16:creationId xmlns:a16="http://schemas.microsoft.com/office/drawing/2014/main" id="{0F076593-BA5F-4F0D-85C7-EF1789DC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8751" y="4489451"/>
              <a:ext cx="106363" cy="98425"/>
            </a:xfrm>
            <a:custGeom>
              <a:avLst/>
              <a:gdLst>
                <a:gd name="T0" fmla="*/ 0 w 67"/>
                <a:gd name="T1" fmla="*/ 0 h 62"/>
                <a:gd name="T2" fmla="*/ 67 w 67"/>
                <a:gd name="T3" fmla="*/ 0 h 62"/>
                <a:gd name="T4" fmla="*/ 67 w 67"/>
                <a:gd name="T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62">
                  <a:moveTo>
                    <a:pt x="0" y="0"/>
                  </a:moveTo>
                  <a:lnTo>
                    <a:pt x="67" y="0"/>
                  </a:lnTo>
                  <a:lnTo>
                    <a:pt x="67" y="62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6" name="Oval 35">
            <a:extLst>
              <a:ext uri="{FF2B5EF4-FFF2-40B4-BE49-F238E27FC236}">
                <a16:creationId xmlns:a16="http://schemas.microsoft.com/office/drawing/2014/main" id="{E0DF7771-B877-45CA-A08B-0540A722AA38}"/>
              </a:ext>
            </a:extLst>
          </p:cNvPr>
          <p:cNvSpPr/>
          <p:nvPr/>
        </p:nvSpPr>
        <p:spPr bwMode="auto">
          <a:xfrm flipV="1">
            <a:off x="6697663" y="3594100"/>
            <a:ext cx="681038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3804A15-E1F8-423A-A9BC-D1EC7A337E23}"/>
              </a:ext>
            </a:extLst>
          </p:cNvPr>
          <p:cNvSpPr/>
          <p:nvPr/>
        </p:nvSpPr>
        <p:spPr bwMode="auto">
          <a:xfrm flipV="1">
            <a:off x="6777039" y="3669898"/>
            <a:ext cx="522286" cy="529442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EE7F7C7-2672-471C-9DFF-EE65A81C6879}"/>
              </a:ext>
            </a:extLst>
          </p:cNvPr>
          <p:cNvGrpSpPr/>
          <p:nvPr/>
        </p:nvGrpSpPr>
        <p:grpSpPr>
          <a:xfrm>
            <a:off x="6891228" y="3787665"/>
            <a:ext cx="293909" cy="293908"/>
            <a:chOff x="7726363" y="2895601"/>
            <a:chExt cx="346076" cy="346075"/>
          </a:xfrm>
        </p:grpSpPr>
        <p:sp>
          <p:nvSpPr>
            <p:cNvPr id="39" name="Oval 7">
              <a:extLst>
                <a:ext uri="{FF2B5EF4-FFF2-40B4-BE49-F238E27FC236}">
                  <a16:creationId xmlns:a16="http://schemas.microsoft.com/office/drawing/2014/main" id="{942208B6-41AD-4BDF-90C3-46F5D792B6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588" y="3014664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6C27BBC4-9B4B-45D8-B2ED-0D1628B4E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05151"/>
              <a:ext cx="104775" cy="136525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Oval 9">
              <a:extLst>
                <a:ext uri="{FF2B5EF4-FFF2-40B4-BE49-F238E27FC236}">
                  <a16:creationId xmlns:a16="http://schemas.microsoft.com/office/drawing/2014/main" id="{D751F478-353A-436F-B714-3F09464EFB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9888" y="3014664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D8F1F9BD-F903-48BE-AE50-78AE4EAC8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6076" y="3105151"/>
              <a:ext cx="106363" cy="136525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Oval 11">
              <a:extLst>
                <a:ext uri="{FF2B5EF4-FFF2-40B4-BE49-F238E27FC236}">
                  <a16:creationId xmlns:a16="http://schemas.microsoft.com/office/drawing/2014/main" id="{30696366-08D8-4034-870D-D4C4376015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69238" y="2895601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3BC987D4-B622-45AD-9740-26972C6D6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2986089"/>
              <a:ext cx="104775" cy="134938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5" name="Oval 2068">
            <a:extLst>
              <a:ext uri="{FF2B5EF4-FFF2-40B4-BE49-F238E27FC236}">
                <a16:creationId xmlns:a16="http://schemas.microsoft.com/office/drawing/2014/main" id="{752BFAEC-3077-4F08-A840-D84696F93F81}"/>
              </a:ext>
            </a:extLst>
          </p:cNvPr>
          <p:cNvSpPr/>
          <p:nvPr/>
        </p:nvSpPr>
        <p:spPr bwMode="auto">
          <a:xfrm flipV="1">
            <a:off x="1782763" y="3594100"/>
            <a:ext cx="681038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D34A041-FFD7-4E7F-9E66-68F810945031}"/>
              </a:ext>
            </a:extLst>
          </p:cNvPr>
          <p:cNvSpPr/>
          <p:nvPr/>
        </p:nvSpPr>
        <p:spPr bwMode="auto">
          <a:xfrm flipV="1">
            <a:off x="1862139" y="3669898"/>
            <a:ext cx="522286" cy="529442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400765C-C709-4836-A882-AA347227719D}"/>
              </a:ext>
            </a:extLst>
          </p:cNvPr>
          <p:cNvGrpSpPr/>
          <p:nvPr/>
        </p:nvGrpSpPr>
        <p:grpSpPr>
          <a:xfrm>
            <a:off x="1995858" y="3804204"/>
            <a:ext cx="254849" cy="260831"/>
            <a:chOff x="4127500" y="4338638"/>
            <a:chExt cx="338138" cy="346075"/>
          </a:xfrm>
        </p:grpSpPr>
        <p:sp>
          <p:nvSpPr>
            <p:cNvPr id="28" name="Oval 219">
              <a:extLst>
                <a:ext uri="{FF2B5EF4-FFF2-40B4-BE49-F238E27FC236}">
                  <a16:creationId xmlns:a16="http://schemas.microsoft.com/office/drawing/2014/main" id="{5D218724-6A16-4E77-AC88-220553059F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7663" y="4338638"/>
              <a:ext cx="104775" cy="106363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220">
              <a:extLst>
                <a:ext uri="{FF2B5EF4-FFF2-40B4-BE49-F238E27FC236}">
                  <a16:creationId xmlns:a16="http://schemas.microsoft.com/office/drawing/2014/main" id="{A1CD55CB-A853-459C-8531-1E28E2013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4475163"/>
              <a:ext cx="165100" cy="209550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7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221">
              <a:extLst>
                <a:ext uri="{FF2B5EF4-FFF2-40B4-BE49-F238E27FC236}">
                  <a16:creationId xmlns:a16="http://schemas.microsoft.com/office/drawing/2014/main" id="{C6A1715A-A232-4B98-BDA2-BB66C3B56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5763" y="4475163"/>
              <a:ext cx="30163" cy="104775"/>
            </a:xfrm>
            <a:custGeom>
              <a:avLst/>
              <a:gdLst>
                <a:gd name="T0" fmla="*/ 14 w 19"/>
                <a:gd name="T1" fmla="*/ 0 h 66"/>
                <a:gd name="T2" fmla="*/ 4 w 19"/>
                <a:gd name="T3" fmla="*/ 0 h 66"/>
                <a:gd name="T4" fmla="*/ 0 w 19"/>
                <a:gd name="T5" fmla="*/ 57 h 66"/>
                <a:gd name="T6" fmla="*/ 9 w 19"/>
                <a:gd name="T7" fmla="*/ 66 h 66"/>
                <a:gd name="T8" fmla="*/ 19 w 19"/>
                <a:gd name="T9" fmla="*/ 57 h 66"/>
                <a:gd name="T10" fmla="*/ 14 w 19"/>
                <a:gd name="T11" fmla="*/ 0 h 66"/>
                <a:gd name="T12" fmla="*/ 14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4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222">
              <a:extLst>
                <a:ext uri="{FF2B5EF4-FFF2-40B4-BE49-F238E27FC236}">
                  <a16:creationId xmlns:a16="http://schemas.microsoft.com/office/drawing/2014/main" id="{FBC62B99-85A9-4E81-964C-62C3842E2B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22763" y="4519613"/>
              <a:ext cx="82550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223">
              <a:extLst>
                <a:ext uri="{FF2B5EF4-FFF2-40B4-BE49-F238E27FC236}">
                  <a16:creationId xmlns:a16="http://schemas.microsoft.com/office/drawing/2014/main" id="{2A6501D9-F9B0-42A5-9615-D7E9E3707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0863" y="4384676"/>
              <a:ext cx="44450" cy="255588"/>
            </a:xfrm>
            <a:custGeom>
              <a:avLst/>
              <a:gdLst>
                <a:gd name="T0" fmla="*/ 28 w 28"/>
                <a:gd name="T1" fmla="*/ 0 h 161"/>
                <a:gd name="T2" fmla="*/ 0 w 28"/>
                <a:gd name="T3" fmla="*/ 0 h 161"/>
                <a:gd name="T4" fmla="*/ 0 w 28"/>
                <a:gd name="T5" fmla="*/ 161 h 161"/>
                <a:gd name="T6" fmla="*/ 28 w 28"/>
                <a:gd name="T7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161">
                  <a:moveTo>
                    <a:pt x="28" y="0"/>
                  </a:moveTo>
                  <a:lnTo>
                    <a:pt x="0" y="0"/>
                  </a:lnTo>
                  <a:lnTo>
                    <a:pt x="0" y="161"/>
                  </a:lnTo>
                  <a:lnTo>
                    <a:pt x="28" y="161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Rectangle 224">
              <a:extLst>
                <a:ext uri="{FF2B5EF4-FFF2-40B4-BE49-F238E27FC236}">
                  <a16:creationId xmlns:a16="http://schemas.microsoft.com/office/drawing/2014/main" id="{7664A348-6957-4D70-994E-A13ED3127C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313" y="4354513"/>
              <a:ext cx="60325" cy="60325"/>
            </a:xfrm>
            <a:prstGeom prst="rect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Rectangle 225">
              <a:extLst>
                <a:ext uri="{FF2B5EF4-FFF2-40B4-BE49-F238E27FC236}">
                  <a16:creationId xmlns:a16="http://schemas.microsoft.com/office/drawing/2014/main" id="{BBD7BF60-EE87-49F7-B52C-712F61871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313" y="4489451"/>
              <a:ext cx="60325" cy="60325"/>
            </a:xfrm>
            <a:prstGeom prst="rect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Rectangle 226">
              <a:extLst>
                <a:ext uri="{FF2B5EF4-FFF2-40B4-BE49-F238E27FC236}">
                  <a16:creationId xmlns:a16="http://schemas.microsoft.com/office/drawing/2014/main" id="{CEC62C27-D9DD-4029-8B94-C9679FF22C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313" y="4610101"/>
              <a:ext cx="60325" cy="60325"/>
            </a:xfrm>
            <a:prstGeom prst="rect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62EEDFEB-C6AB-4BC6-B999-60A0AB01233C}"/>
              </a:ext>
            </a:extLst>
          </p:cNvPr>
          <p:cNvCxnSpPr>
            <a:cxnSpLocks/>
          </p:cNvCxnSpPr>
          <p:nvPr/>
        </p:nvCxnSpPr>
        <p:spPr>
          <a:xfrm>
            <a:off x="1406525" y="5842000"/>
            <a:ext cx="279400" cy="0"/>
          </a:xfrm>
          <a:prstGeom prst="line">
            <a:avLst/>
          </a:prstGeom>
          <a:ln w="127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9337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CA5ED30-3AB9-3047-848B-02CD451C5B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4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Freeform 10">
            <a:extLst>
              <a:ext uri="{FF2B5EF4-FFF2-40B4-BE49-F238E27FC236}">
                <a16:creationId xmlns:a16="http://schemas.microsoft.com/office/drawing/2014/main" id="{74B775B3-4EED-B140-BD37-ED3586DDC4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33400 w 12192000"/>
              <a:gd name="connsiteY1" fmla="*/ 0 h 6858000"/>
              <a:gd name="connsiteX2" fmla="*/ 533400 w 12192000"/>
              <a:gd name="connsiteY2" fmla="*/ 5118072 h 6858000"/>
              <a:gd name="connsiteX3" fmla="*/ 1003328 w 12192000"/>
              <a:gd name="connsiteY3" fmla="*/ 5588000 h 6858000"/>
              <a:gd name="connsiteX4" fmla="*/ 5626072 w 12192000"/>
              <a:gd name="connsiteY4" fmla="*/ 5588000 h 6858000"/>
              <a:gd name="connsiteX5" fmla="*/ 6096000 w 12192000"/>
              <a:gd name="connsiteY5" fmla="*/ 5118072 h 6858000"/>
              <a:gd name="connsiteX6" fmla="*/ 609600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858000 h 6858000"/>
              <a:gd name="connsiteX9" fmla="*/ 0 w 12192000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33400" y="0"/>
                </a:lnTo>
                <a:lnTo>
                  <a:pt x="533400" y="5118072"/>
                </a:lnTo>
                <a:cubicBezTo>
                  <a:pt x="533400" y="5377606"/>
                  <a:pt x="743794" y="5588000"/>
                  <a:pt x="1003328" y="5588000"/>
                </a:cubicBezTo>
                <a:lnTo>
                  <a:pt x="5626072" y="5588000"/>
                </a:lnTo>
                <a:cubicBezTo>
                  <a:pt x="5885606" y="5588000"/>
                  <a:pt x="6096000" y="5377606"/>
                  <a:pt x="6096000" y="5118072"/>
                </a:cubicBezTo>
                <a:lnTo>
                  <a:pt x="60960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F7B95B97-4D6E-DC4F-A072-89BAE3F6FAEF}"/>
              </a:ext>
            </a:extLst>
          </p:cNvPr>
          <p:cNvSpPr/>
          <p:nvPr/>
        </p:nvSpPr>
        <p:spPr>
          <a:xfrm>
            <a:off x="533400" y="2"/>
            <a:ext cx="5562600" cy="5587999"/>
          </a:xfrm>
          <a:custGeom>
            <a:avLst/>
            <a:gdLst>
              <a:gd name="connsiteX0" fmla="*/ 0 w 5562600"/>
              <a:gd name="connsiteY0" fmla="*/ 0 h 5587999"/>
              <a:gd name="connsiteX1" fmla="*/ 5562600 w 5562600"/>
              <a:gd name="connsiteY1" fmla="*/ 0 h 5587999"/>
              <a:gd name="connsiteX2" fmla="*/ 5562600 w 5562600"/>
              <a:gd name="connsiteY2" fmla="*/ 5118071 h 5587999"/>
              <a:gd name="connsiteX3" fmla="*/ 5092672 w 5562600"/>
              <a:gd name="connsiteY3" fmla="*/ 5587999 h 5587999"/>
              <a:gd name="connsiteX4" fmla="*/ 469928 w 5562600"/>
              <a:gd name="connsiteY4" fmla="*/ 5587999 h 5587999"/>
              <a:gd name="connsiteX5" fmla="*/ 0 w 5562600"/>
              <a:gd name="connsiteY5" fmla="*/ 5118071 h 558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2600" h="5587999">
                <a:moveTo>
                  <a:pt x="0" y="0"/>
                </a:moveTo>
                <a:lnTo>
                  <a:pt x="5562600" y="0"/>
                </a:lnTo>
                <a:lnTo>
                  <a:pt x="5562600" y="5118071"/>
                </a:lnTo>
                <a:cubicBezTo>
                  <a:pt x="5562600" y="5377605"/>
                  <a:pt x="5352206" y="5587999"/>
                  <a:pt x="5092672" y="5587999"/>
                </a:cubicBezTo>
                <a:lnTo>
                  <a:pt x="469928" y="5587999"/>
                </a:lnTo>
                <a:cubicBezTo>
                  <a:pt x="210394" y="5587999"/>
                  <a:pt x="0" y="5377605"/>
                  <a:pt x="0" y="5118071"/>
                </a:cubicBezTo>
                <a:close/>
              </a:path>
            </a:pathLst>
          </a:custGeom>
          <a:gradFill flip="none" rotWithShape="1">
            <a:gsLst>
              <a:gs pos="0">
                <a:srgbClr val="A2E72E">
                  <a:alpha val="84000"/>
                </a:srgbClr>
              </a:gs>
              <a:gs pos="100000">
                <a:srgbClr val="86BC2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7BC269-86E9-1D40-9949-AA258634A5A5}"/>
              </a:ext>
            </a:extLst>
          </p:cNvPr>
          <p:cNvSpPr txBox="1"/>
          <p:nvPr/>
        </p:nvSpPr>
        <p:spPr>
          <a:xfrm>
            <a:off x="1832636" y="1524000"/>
            <a:ext cx="2964129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5A1987-BFF6-C140-86D0-0B8AC2E80103}"/>
              </a:ext>
            </a:extLst>
          </p:cNvPr>
          <p:cNvCxnSpPr>
            <a:cxnSpLocks/>
          </p:cNvCxnSpPr>
          <p:nvPr/>
        </p:nvCxnSpPr>
        <p:spPr>
          <a:xfrm flipH="1">
            <a:off x="1895708" y="3953073"/>
            <a:ext cx="772537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5002145-386E-BE40-BC7A-18151B9C59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708" y="4521475"/>
            <a:ext cx="1427769" cy="270667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8F68282F-F1FC-784A-A77C-A4AD9645DB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70126" y="3832220"/>
            <a:ext cx="852332" cy="241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418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FF997-22A6-8246-A5D5-F700E5CB5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DA752D-1BCA-4203-BBCD-4A6E3F70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B14D484F-C334-7C4B-8E00-D69BBF22FA32}"/>
              </a:ext>
            </a:extLst>
          </p:cNvPr>
          <p:cNvSpPr/>
          <p:nvPr/>
        </p:nvSpPr>
        <p:spPr>
          <a:xfrm>
            <a:off x="0" y="1733550"/>
            <a:ext cx="6096000" cy="4152900"/>
          </a:xfrm>
          <a:custGeom>
            <a:avLst/>
            <a:gdLst>
              <a:gd name="connsiteX0" fmla="*/ 0 w 6096000"/>
              <a:gd name="connsiteY0" fmla="*/ 0 h 4152900"/>
              <a:gd name="connsiteX1" fmla="*/ 5779757 w 6096000"/>
              <a:gd name="connsiteY1" fmla="*/ 0 h 4152900"/>
              <a:gd name="connsiteX2" fmla="*/ 6096000 w 6096000"/>
              <a:gd name="connsiteY2" fmla="*/ 316243 h 4152900"/>
              <a:gd name="connsiteX3" fmla="*/ 6096000 w 6096000"/>
              <a:gd name="connsiteY3" fmla="*/ 3836657 h 4152900"/>
              <a:gd name="connsiteX4" fmla="*/ 5779757 w 6096000"/>
              <a:gd name="connsiteY4" fmla="*/ 4152900 h 4152900"/>
              <a:gd name="connsiteX5" fmla="*/ 0 w 6096000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4152900">
                <a:moveTo>
                  <a:pt x="0" y="0"/>
                </a:moveTo>
                <a:lnTo>
                  <a:pt x="5779757" y="0"/>
                </a:lnTo>
                <a:cubicBezTo>
                  <a:pt x="5954413" y="0"/>
                  <a:pt x="6096000" y="141587"/>
                  <a:pt x="6096000" y="316243"/>
                </a:cubicBezTo>
                <a:lnTo>
                  <a:pt x="6096000" y="3836657"/>
                </a:lnTo>
                <a:cubicBezTo>
                  <a:pt x="6096000" y="4011313"/>
                  <a:pt x="5954413" y="4152900"/>
                  <a:pt x="5779757" y="4152900"/>
                </a:cubicBezTo>
                <a:lnTo>
                  <a:pt x="0" y="415290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29398179-0327-2C44-AE8F-0C8E76B31CB2}"/>
              </a:ext>
            </a:extLst>
          </p:cNvPr>
          <p:cNvSpPr/>
          <p:nvPr/>
        </p:nvSpPr>
        <p:spPr>
          <a:xfrm>
            <a:off x="6394939" y="2052735"/>
            <a:ext cx="5797061" cy="802432"/>
          </a:xfrm>
          <a:custGeom>
            <a:avLst/>
            <a:gdLst>
              <a:gd name="connsiteX0" fmla="*/ 133741 w 5797061"/>
              <a:gd name="connsiteY0" fmla="*/ 0 h 802432"/>
              <a:gd name="connsiteX1" fmla="*/ 368202 w 5797061"/>
              <a:gd name="connsiteY1" fmla="*/ 0 h 802432"/>
              <a:gd name="connsiteX2" fmla="*/ 5562600 w 5797061"/>
              <a:gd name="connsiteY2" fmla="*/ 0 h 802432"/>
              <a:gd name="connsiteX3" fmla="*/ 5797061 w 5797061"/>
              <a:gd name="connsiteY3" fmla="*/ 0 h 802432"/>
              <a:gd name="connsiteX4" fmla="*/ 5797061 w 5797061"/>
              <a:gd name="connsiteY4" fmla="*/ 802432 h 802432"/>
              <a:gd name="connsiteX5" fmla="*/ 5562600 w 5797061"/>
              <a:gd name="connsiteY5" fmla="*/ 802432 h 802432"/>
              <a:gd name="connsiteX6" fmla="*/ 368202 w 5797061"/>
              <a:gd name="connsiteY6" fmla="*/ 802432 h 802432"/>
              <a:gd name="connsiteX7" fmla="*/ 133741 w 5797061"/>
              <a:gd name="connsiteY7" fmla="*/ 802432 h 802432"/>
              <a:gd name="connsiteX8" fmla="*/ 0 w 5797061"/>
              <a:gd name="connsiteY8" fmla="*/ 668691 h 802432"/>
              <a:gd name="connsiteX9" fmla="*/ 0 w 5797061"/>
              <a:gd name="connsiteY9" fmla="*/ 133741 h 802432"/>
              <a:gd name="connsiteX10" fmla="*/ 133741 w 5797061"/>
              <a:gd name="connsiteY10" fmla="*/ 0 h 802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97061" h="802432">
                <a:moveTo>
                  <a:pt x="133741" y="0"/>
                </a:moveTo>
                <a:lnTo>
                  <a:pt x="368202" y="0"/>
                </a:lnTo>
                <a:lnTo>
                  <a:pt x="5562600" y="0"/>
                </a:lnTo>
                <a:lnTo>
                  <a:pt x="5797061" y="0"/>
                </a:lnTo>
                <a:lnTo>
                  <a:pt x="5797061" y="802432"/>
                </a:lnTo>
                <a:lnTo>
                  <a:pt x="5562600" y="802432"/>
                </a:lnTo>
                <a:lnTo>
                  <a:pt x="368202" y="802432"/>
                </a:lnTo>
                <a:lnTo>
                  <a:pt x="133741" y="802432"/>
                </a:lnTo>
                <a:cubicBezTo>
                  <a:pt x="59878" y="802432"/>
                  <a:pt x="0" y="742554"/>
                  <a:pt x="0" y="668691"/>
                </a:cubicBezTo>
                <a:lnTo>
                  <a:pt x="0" y="133741"/>
                </a:lnTo>
                <a:cubicBezTo>
                  <a:pt x="0" y="59878"/>
                  <a:pt x="59878" y="0"/>
                  <a:pt x="133741" y="0"/>
                </a:cubicBezTo>
                <a:close/>
              </a:path>
            </a:pathLst>
          </a:cu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117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" name="Picture 147">
            <a:extLst>
              <a:ext uri="{FF2B5EF4-FFF2-40B4-BE49-F238E27FC236}">
                <a16:creationId xmlns:a16="http://schemas.microsoft.com/office/drawing/2014/main" id="{3C45F93E-5E88-DF4B-8FA0-4A9D67830AB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48" r="18434"/>
          <a:stretch/>
        </p:blipFill>
        <p:spPr>
          <a:xfrm>
            <a:off x="0" y="1733550"/>
            <a:ext cx="3860114" cy="4152900"/>
          </a:xfrm>
          <a:custGeom>
            <a:avLst/>
            <a:gdLst>
              <a:gd name="connsiteX0" fmla="*/ 0 w 3860114"/>
              <a:gd name="connsiteY0" fmla="*/ 0 h 4152900"/>
              <a:gd name="connsiteX1" fmla="*/ 3529412 w 3860114"/>
              <a:gd name="connsiteY1" fmla="*/ 0 h 4152900"/>
              <a:gd name="connsiteX2" fmla="*/ 3860114 w 3860114"/>
              <a:gd name="connsiteY2" fmla="*/ 316243 h 4152900"/>
              <a:gd name="connsiteX3" fmla="*/ 3860114 w 3860114"/>
              <a:gd name="connsiteY3" fmla="*/ 3836657 h 4152900"/>
              <a:gd name="connsiteX4" fmla="*/ 3529412 w 3860114"/>
              <a:gd name="connsiteY4" fmla="*/ 4152900 h 4152900"/>
              <a:gd name="connsiteX5" fmla="*/ 0 w 3860114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0114" h="4152900">
                <a:moveTo>
                  <a:pt x="0" y="0"/>
                </a:moveTo>
                <a:lnTo>
                  <a:pt x="3529412" y="0"/>
                </a:lnTo>
                <a:cubicBezTo>
                  <a:pt x="3712054" y="0"/>
                  <a:pt x="3860114" y="141587"/>
                  <a:pt x="3860114" y="316243"/>
                </a:cubicBezTo>
                <a:lnTo>
                  <a:pt x="3860114" y="3836657"/>
                </a:lnTo>
                <a:cubicBezTo>
                  <a:pt x="3860114" y="4011313"/>
                  <a:pt x="3712054" y="4152900"/>
                  <a:pt x="3529412" y="4152900"/>
                </a:cubicBezTo>
                <a:lnTo>
                  <a:pt x="0" y="4152900"/>
                </a:lnTo>
                <a:close/>
              </a:path>
            </a:pathLst>
          </a:custGeom>
        </p:spPr>
      </p:pic>
      <p:sp>
        <p:nvSpPr>
          <p:cNvPr id="144" name="Freeform 143">
            <a:extLst>
              <a:ext uri="{FF2B5EF4-FFF2-40B4-BE49-F238E27FC236}">
                <a16:creationId xmlns:a16="http://schemas.microsoft.com/office/drawing/2014/main" id="{AC7AAE83-A535-874B-8657-BFB366EEA425}"/>
              </a:ext>
            </a:extLst>
          </p:cNvPr>
          <p:cNvSpPr/>
          <p:nvPr/>
        </p:nvSpPr>
        <p:spPr>
          <a:xfrm>
            <a:off x="0" y="1733550"/>
            <a:ext cx="3860114" cy="4152900"/>
          </a:xfrm>
          <a:custGeom>
            <a:avLst/>
            <a:gdLst>
              <a:gd name="connsiteX0" fmla="*/ 0 w 3860114"/>
              <a:gd name="connsiteY0" fmla="*/ 0 h 4152900"/>
              <a:gd name="connsiteX1" fmla="*/ 3529412 w 3860114"/>
              <a:gd name="connsiteY1" fmla="*/ 0 h 4152900"/>
              <a:gd name="connsiteX2" fmla="*/ 3860114 w 3860114"/>
              <a:gd name="connsiteY2" fmla="*/ 316243 h 4152900"/>
              <a:gd name="connsiteX3" fmla="*/ 3860114 w 3860114"/>
              <a:gd name="connsiteY3" fmla="*/ 3836657 h 4152900"/>
              <a:gd name="connsiteX4" fmla="*/ 3529412 w 3860114"/>
              <a:gd name="connsiteY4" fmla="*/ 4152900 h 4152900"/>
              <a:gd name="connsiteX5" fmla="*/ 0 w 3860114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0114" h="4152900">
                <a:moveTo>
                  <a:pt x="0" y="0"/>
                </a:moveTo>
                <a:lnTo>
                  <a:pt x="3529412" y="0"/>
                </a:lnTo>
                <a:cubicBezTo>
                  <a:pt x="3712054" y="0"/>
                  <a:pt x="3860114" y="141587"/>
                  <a:pt x="3860114" y="316243"/>
                </a:cubicBezTo>
                <a:lnTo>
                  <a:pt x="3860114" y="3836657"/>
                </a:lnTo>
                <a:cubicBezTo>
                  <a:pt x="3860114" y="4011313"/>
                  <a:pt x="3712054" y="4152900"/>
                  <a:pt x="3529412" y="4152900"/>
                </a:cubicBezTo>
                <a:lnTo>
                  <a:pt x="0" y="415290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13F198-C41A-5443-9494-244844FDC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2B5DF9-5EAB-4007-91D2-75AB7F8679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23BA1545-6540-7141-9892-84A7DD01E3DE}"/>
              </a:ext>
            </a:extLst>
          </p:cNvPr>
          <p:cNvGrpSpPr/>
          <p:nvPr/>
        </p:nvGrpSpPr>
        <p:grpSpPr>
          <a:xfrm>
            <a:off x="4369509" y="1733550"/>
            <a:ext cx="3452982" cy="889000"/>
            <a:chOff x="4202633" y="1877895"/>
            <a:chExt cx="3452982" cy="889000"/>
          </a:xfrm>
        </p:grpSpPr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C2C36747-EA9B-C140-A5AB-8484FD59BA13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62A84F9-18D2-D549-B0A2-21B83459B011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B16659AD-1AFA-F146-9023-6A2357E42348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6" name="Freeform 26">
                <a:extLst>
                  <a:ext uri="{FF2B5EF4-FFF2-40B4-BE49-F238E27FC236}">
                    <a16:creationId xmlns:a16="http://schemas.microsoft.com/office/drawing/2014/main" id="{FEB1C763-1D9C-684F-BCF6-FD1449C21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30B93C6-97B9-5947-AA79-76D707C6577E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15195824-7F6D-1442-B2D0-821877DCA3CE}"/>
              </a:ext>
            </a:extLst>
          </p:cNvPr>
          <p:cNvGrpSpPr/>
          <p:nvPr/>
        </p:nvGrpSpPr>
        <p:grpSpPr>
          <a:xfrm>
            <a:off x="4369509" y="2821517"/>
            <a:ext cx="3452982" cy="889000"/>
            <a:chOff x="4202633" y="1877895"/>
            <a:chExt cx="3452982" cy="889000"/>
          </a:xfrm>
        </p:grpSpPr>
        <p:sp>
          <p:nvSpPr>
            <p:cNvPr id="102" name="Rounded Rectangle 101">
              <a:extLst>
                <a:ext uri="{FF2B5EF4-FFF2-40B4-BE49-F238E27FC236}">
                  <a16:creationId xmlns:a16="http://schemas.microsoft.com/office/drawing/2014/main" id="{4A2BACF9-62BD-7444-97C7-9261861E98C0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07870473-D443-DE4F-BE74-9346E734E6B5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6F95BFDF-7845-E842-B6DF-250A8E0F13F2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06" name="Freeform 26">
                <a:extLst>
                  <a:ext uri="{FF2B5EF4-FFF2-40B4-BE49-F238E27FC236}">
                    <a16:creationId xmlns:a16="http://schemas.microsoft.com/office/drawing/2014/main" id="{7047908A-5E8C-CB46-AB5E-89247B289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DE61BB42-5327-184E-BAB6-801FD72966D7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9A72A667-0F9B-154E-95BC-042E7DDF229A}"/>
              </a:ext>
            </a:extLst>
          </p:cNvPr>
          <p:cNvGrpSpPr/>
          <p:nvPr/>
        </p:nvGrpSpPr>
        <p:grpSpPr>
          <a:xfrm>
            <a:off x="4369509" y="3909484"/>
            <a:ext cx="3452982" cy="889000"/>
            <a:chOff x="4202633" y="1877895"/>
            <a:chExt cx="3452982" cy="889000"/>
          </a:xfrm>
        </p:grpSpPr>
        <p:sp>
          <p:nvSpPr>
            <p:cNvPr id="108" name="Rounded Rectangle 107">
              <a:extLst>
                <a:ext uri="{FF2B5EF4-FFF2-40B4-BE49-F238E27FC236}">
                  <a16:creationId xmlns:a16="http://schemas.microsoft.com/office/drawing/2014/main" id="{9C63FE99-D765-E741-853D-8F1EAFEE6384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ABB0E678-6917-2D47-B872-CA77A97CFE91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2FD13DB-9E75-5A49-B5AE-980227C9FDBC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2" name="Freeform 26">
                <a:extLst>
                  <a:ext uri="{FF2B5EF4-FFF2-40B4-BE49-F238E27FC236}">
                    <a16:creationId xmlns:a16="http://schemas.microsoft.com/office/drawing/2014/main" id="{723B5622-A7D2-6D42-BCB7-DEBBA220E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21DCB13A-DBD9-F241-AB7A-E54FA405FC01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A3BBF54E-5037-BD43-9DEC-02EDA6C18CF3}"/>
              </a:ext>
            </a:extLst>
          </p:cNvPr>
          <p:cNvGrpSpPr/>
          <p:nvPr/>
        </p:nvGrpSpPr>
        <p:grpSpPr>
          <a:xfrm>
            <a:off x="4369509" y="4997450"/>
            <a:ext cx="3452982" cy="889000"/>
            <a:chOff x="4202633" y="1877895"/>
            <a:chExt cx="3452982" cy="889000"/>
          </a:xfrm>
        </p:grpSpPr>
        <p:sp>
          <p:nvSpPr>
            <p:cNvPr id="114" name="Rounded Rectangle 113">
              <a:extLst>
                <a:ext uri="{FF2B5EF4-FFF2-40B4-BE49-F238E27FC236}">
                  <a16:creationId xmlns:a16="http://schemas.microsoft.com/office/drawing/2014/main" id="{76035C97-F812-9240-AA81-65C53609C9B4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3B583AAE-B786-6B4C-98A4-E0404292910C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97DC5548-DFA9-A348-B154-C00EC7B6470C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8" name="Freeform 26">
                <a:extLst>
                  <a:ext uri="{FF2B5EF4-FFF2-40B4-BE49-F238E27FC236}">
                    <a16:creationId xmlns:a16="http://schemas.microsoft.com/office/drawing/2014/main" id="{6A75EE35-79CD-7D4C-B727-22D2329FA8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278C6902-93EC-7A45-9AAB-ABA59F55BE23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29272D31-448D-1C4B-B5F7-2BCC705F869D}"/>
              </a:ext>
            </a:extLst>
          </p:cNvPr>
          <p:cNvGrpSpPr/>
          <p:nvPr/>
        </p:nvGrpSpPr>
        <p:grpSpPr>
          <a:xfrm>
            <a:off x="8151096" y="1733550"/>
            <a:ext cx="3452982" cy="889000"/>
            <a:chOff x="4202633" y="1877895"/>
            <a:chExt cx="3452982" cy="889000"/>
          </a:xfrm>
        </p:grpSpPr>
        <p:sp>
          <p:nvSpPr>
            <p:cNvPr id="120" name="Rounded Rectangle 119">
              <a:extLst>
                <a:ext uri="{FF2B5EF4-FFF2-40B4-BE49-F238E27FC236}">
                  <a16:creationId xmlns:a16="http://schemas.microsoft.com/office/drawing/2014/main" id="{72677B58-8291-894B-9CD6-3D5B5D2DCB1A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E1133F85-20C9-BF47-96B0-25AF97E887EB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806B080B-4E25-DF4C-BD51-DB3CB29CE981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24" name="Freeform 26">
                <a:extLst>
                  <a:ext uri="{FF2B5EF4-FFF2-40B4-BE49-F238E27FC236}">
                    <a16:creationId xmlns:a16="http://schemas.microsoft.com/office/drawing/2014/main" id="{637780C1-18DE-674E-9B98-1714A9DA2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1F62E19B-EAB8-FD45-AA04-8BCB959666A4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B473D06C-206C-CD4F-B324-942043E9E097}"/>
              </a:ext>
            </a:extLst>
          </p:cNvPr>
          <p:cNvGrpSpPr/>
          <p:nvPr/>
        </p:nvGrpSpPr>
        <p:grpSpPr>
          <a:xfrm>
            <a:off x="8151096" y="2821517"/>
            <a:ext cx="3452982" cy="889000"/>
            <a:chOff x="4202633" y="1877895"/>
            <a:chExt cx="3452982" cy="889000"/>
          </a:xfrm>
        </p:grpSpPr>
        <p:sp>
          <p:nvSpPr>
            <p:cNvPr id="126" name="Rounded Rectangle 125">
              <a:extLst>
                <a:ext uri="{FF2B5EF4-FFF2-40B4-BE49-F238E27FC236}">
                  <a16:creationId xmlns:a16="http://schemas.microsoft.com/office/drawing/2014/main" id="{88939BA9-BD28-C445-B589-1D8010079C07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5D918CFF-0A73-C14A-A286-A3A9BDE0ED43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C461FA4A-8C9B-EE44-9A0B-8473516A93FA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0" name="Freeform 26">
                <a:extLst>
                  <a:ext uri="{FF2B5EF4-FFF2-40B4-BE49-F238E27FC236}">
                    <a16:creationId xmlns:a16="http://schemas.microsoft.com/office/drawing/2014/main" id="{86B07A13-8CDC-544F-8E06-CCDE5C235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38434E7F-A847-3148-8ADB-A313A8306D43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8A43B289-89C2-DD40-A288-7D48A7B909B3}"/>
              </a:ext>
            </a:extLst>
          </p:cNvPr>
          <p:cNvGrpSpPr/>
          <p:nvPr/>
        </p:nvGrpSpPr>
        <p:grpSpPr>
          <a:xfrm>
            <a:off x="8151096" y="3909484"/>
            <a:ext cx="3452982" cy="889000"/>
            <a:chOff x="4202633" y="1877895"/>
            <a:chExt cx="3452982" cy="889000"/>
          </a:xfrm>
        </p:grpSpPr>
        <p:sp>
          <p:nvSpPr>
            <p:cNvPr id="132" name="Rounded Rectangle 131">
              <a:extLst>
                <a:ext uri="{FF2B5EF4-FFF2-40B4-BE49-F238E27FC236}">
                  <a16:creationId xmlns:a16="http://schemas.microsoft.com/office/drawing/2014/main" id="{6BEDBF89-B905-8C46-8463-19042FC9D1F3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6189C26C-8BEC-6847-866B-CCE55EBE7282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E74165CA-2CDC-C84B-B757-F17D3D6BC3A2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6" name="Freeform 26">
                <a:extLst>
                  <a:ext uri="{FF2B5EF4-FFF2-40B4-BE49-F238E27FC236}">
                    <a16:creationId xmlns:a16="http://schemas.microsoft.com/office/drawing/2014/main" id="{57BDF903-7EFB-EF4C-8E29-CC23705664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14F67042-8ADB-5549-A019-95B7BA2E63F8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BD773421-6575-264D-BF8B-F8F59D0F9FB4}"/>
              </a:ext>
            </a:extLst>
          </p:cNvPr>
          <p:cNvGrpSpPr/>
          <p:nvPr/>
        </p:nvGrpSpPr>
        <p:grpSpPr>
          <a:xfrm>
            <a:off x="8151096" y="4997450"/>
            <a:ext cx="3452982" cy="889000"/>
            <a:chOff x="4202633" y="1877895"/>
            <a:chExt cx="3452982" cy="889000"/>
          </a:xfrm>
        </p:grpSpPr>
        <p:sp>
          <p:nvSpPr>
            <p:cNvPr id="138" name="Rounded Rectangle 137">
              <a:extLst>
                <a:ext uri="{FF2B5EF4-FFF2-40B4-BE49-F238E27FC236}">
                  <a16:creationId xmlns:a16="http://schemas.microsoft.com/office/drawing/2014/main" id="{CD084EDD-12FE-CE47-9BAE-32D335DC0BEC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6E850937-4A3A-5343-9276-18DD54DD7E9F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D74EF0D9-82DD-6D4D-A2F5-C2181D72A8D9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42" name="Freeform 26">
                <a:extLst>
                  <a:ext uri="{FF2B5EF4-FFF2-40B4-BE49-F238E27FC236}">
                    <a16:creationId xmlns:a16="http://schemas.microsoft.com/office/drawing/2014/main" id="{4EA1607B-D757-5543-AB82-451EE581D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9ACBDF57-7AC4-7847-BD6E-8BF3CEFC3D53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FF5F0A18-5E7D-3148-9283-6A3D474E164D}"/>
              </a:ext>
            </a:extLst>
          </p:cNvPr>
          <p:cNvGrpSpPr/>
          <p:nvPr/>
        </p:nvGrpSpPr>
        <p:grpSpPr>
          <a:xfrm>
            <a:off x="1401393" y="3184414"/>
            <a:ext cx="1057328" cy="1251174"/>
            <a:chOff x="3013075" y="3624263"/>
            <a:chExt cx="285750" cy="338137"/>
          </a:xfrm>
        </p:grpSpPr>
        <p:sp>
          <p:nvSpPr>
            <p:cNvPr id="150" name="Freeform 338">
              <a:extLst>
                <a:ext uri="{FF2B5EF4-FFF2-40B4-BE49-F238E27FC236}">
                  <a16:creationId xmlns:a16="http://schemas.microsoft.com/office/drawing/2014/main" id="{C3FD1431-8ACA-644D-BCF0-7A25C7C65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3400" y="3797300"/>
              <a:ext cx="165100" cy="104775"/>
            </a:xfrm>
            <a:custGeom>
              <a:avLst/>
              <a:gdLst>
                <a:gd name="T0" fmla="*/ 43 w 44"/>
                <a:gd name="T1" fmla="*/ 0 h 28"/>
                <a:gd name="T2" fmla="*/ 44 w 44"/>
                <a:gd name="T3" fmla="*/ 6 h 28"/>
                <a:gd name="T4" fmla="*/ 22 w 44"/>
                <a:gd name="T5" fmla="*/ 28 h 28"/>
                <a:gd name="T6" fmla="*/ 0 w 44"/>
                <a:gd name="T7" fmla="*/ 6 h 28"/>
                <a:gd name="T8" fmla="*/ 1 w 44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3" y="0"/>
                  </a:moveTo>
                  <a:cubicBezTo>
                    <a:pt x="44" y="2"/>
                    <a:pt x="44" y="4"/>
                    <a:pt x="44" y="6"/>
                  </a:cubicBezTo>
                  <a:cubicBezTo>
                    <a:pt x="44" y="18"/>
                    <a:pt x="34" y="28"/>
                    <a:pt x="22" y="28"/>
                  </a:cubicBezTo>
                  <a:cubicBezTo>
                    <a:pt x="10" y="28"/>
                    <a:pt x="0" y="18"/>
                    <a:pt x="0" y="6"/>
                  </a:cubicBezTo>
                  <a:cubicBezTo>
                    <a:pt x="0" y="4"/>
                    <a:pt x="0" y="2"/>
                    <a:pt x="1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Freeform 339">
              <a:extLst>
                <a:ext uri="{FF2B5EF4-FFF2-40B4-BE49-F238E27FC236}">
                  <a16:creationId xmlns:a16="http://schemas.microsoft.com/office/drawing/2014/main" id="{61DF049D-CE16-AC45-B002-3C236C800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3075" y="3714750"/>
              <a:ext cx="285750" cy="247650"/>
            </a:xfrm>
            <a:custGeom>
              <a:avLst/>
              <a:gdLst>
                <a:gd name="T0" fmla="*/ 64 w 76"/>
                <a:gd name="T1" fmla="*/ 0 h 66"/>
                <a:gd name="T2" fmla="*/ 76 w 76"/>
                <a:gd name="T3" fmla="*/ 28 h 66"/>
                <a:gd name="T4" fmla="*/ 38 w 76"/>
                <a:gd name="T5" fmla="*/ 66 h 66"/>
                <a:gd name="T6" fmla="*/ 0 w 76"/>
                <a:gd name="T7" fmla="*/ 28 h 66"/>
                <a:gd name="T8" fmla="*/ 12 w 76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6">
                  <a:moveTo>
                    <a:pt x="64" y="0"/>
                  </a:moveTo>
                  <a:cubicBezTo>
                    <a:pt x="71" y="7"/>
                    <a:pt x="76" y="17"/>
                    <a:pt x="76" y="28"/>
                  </a:cubicBezTo>
                  <a:cubicBezTo>
                    <a:pt x="76" y="49"/>
                    <a:pt x="59" y="66"/>
                    <a:pt x="38" y="66"/>
                  </a:cubicBezTo>
                  <a:cubicBezTo>
                    <a:pt x="17" y="66"/>
                    <a:pt x="0" y="49"/>
                    <a:pt x="0" y="28"/>
                  </a:cubicBezTo>
                  <a:cubicBezTo>
                    <a:pt x="0" y="17"/>
                    <a:pt x="5" y="7"/>
                    <a:pt x="12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Freeform 340">
              <a:extLst>
                <a:ext uri="{FF2B5EF4-FFF2-40B4-BE49-F238E27FC236}">
                  <a16:creationId xmlns:a16="http://schemas.microsoft.com/office/drawing/2014/main" id="{C124C7FE-1FF5-5343-B3CC-C8BA33491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3624263"/>
              <a:ext cx="150813" cy="153988"/>
            </a:xfrm>
            <a:custGeom>
              <a:avLst/>
              <a:gdLst>
                <a:gd name="T0" fmla="*/ 47 w 95"/>
                <a:gd name="T1" fmla="*/ 0 h 97"/>
                <a:gd name="T2" fmla="*/ 61 w 95"/>
                <a:gd name="T3" fmla="*/ 33 h 97"/>
                <a:gd name="T4" fmla="*/ 95 w 95"/>
                <a:gd name="T5" fmla="*/ 33 h 97"/>
                <a:gd name="T6" fmla="*/ 69 w 95"/>
                <a:gd name="T7" fmla="*/ 57 h 97"/>
                <a:gd name="T8" fmla="*/ 78 w 95"/>
                <a:gd name="T9" fmla="*/ 95 h 97"/>
                <a:gd name="T10" fmla="*/ 47 w 95"/>
                <a:gd name="T11" fmla="*/ 73 h 97"/>
                <a:gd name="T12" fmla="*/ 17 w 95"/>
                <a:gd name="T13" fmla="*/ 97 h 97"/>
                <a:gd name="T14" fmla="*/ 26 w 95"/>
                <a:gd name="T15" fmla="*/ 57 h 97"/>
                <a:gd name="T16" fmla="*/ 0 w 95"/>
                <a:gd name="T17" fmla="*/ 33 h 97"/>
                <a:gd name="T18" fmla="*/ 33 w 95"/>
                <a:gd name="T19" fmla="*/ 33 h 97"/>
                <a:gd name="T20" fmla="*/ 47 w 95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" h="97">
                  <a:moveTo>
                    <a:pt x="47" y="0"/>
                  </a:moveTo>
                  <a:lnTo>
                    <a:pt x="61" y="33"/>
                  </a:lnTo>
                  <a:lnTo>
                    <a:pt x="95" y="33"/>
                  </a:lnTo>
                  <a:lnTo>
                    <a:pt x="69" y="57"/>
                  </a:lnTo>
                  <a:lnTo>
                    <a:pt x="78" y="95"/>
                  </a:lnTo>
                  <a:lnTo>
                    <a:pt x="47" y="73"/>
                  </a:lnTo>
                  <a:lnTo>
                    <a:pt x="17" y="97"/>
                  </a:lnTo>
                  <a:lnTo>
                    <a:pt x="26" y="57"/>
                  </a:lnTo>
                  <a:lnTo>
                    <a:pt x="0" y="33"/>
                  </a:lnTo>
                  <a:lnTo>
                    <a:pt x="33" y="33"/>
                  </a:lnTo>
                  <a:lnTo>
                    <a:pt x="47" y="0"/>
                  </a:lnTo>
                  <a:close/>
                </a:path>
              </a:pathLst>
            </a:cu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Line 341">
              <a:extLst>
                <a:ext uri="{FF2B5EF4-FFF2-40B4-BE49-F238E27FC236}">
                  <a16:creationId xmlns:a16="http://schemas.microsoft.com/office/drawing/2014/main" id="{B4D7B03E-0B95-6E4C-995D-B6102801F1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19438" y="3740150"/>
              <a:ext cx="36513" cy="1016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Line 342">
              <a:extLst>
                <a:ext uri="{FF2B5EF4-FFF2-40B4-BE49-F238E27FC236}">
                  <a16:creationId xmlns:a16="http://schemas.microsoft.com/office/drawing/2014/main" id="{C5FBB3ED-15AA-2246-9146-BDBB0CCD1C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5950" y="3740150"/>
              <a:ext cx="38100" cy="1016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6935478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D5168-914E-45ED-8C99-DD0E0E912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055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98B1672-9E81-4F0C-B5E9-044D3E1807A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0" name="Picture 19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CBCD6030-BE6C-4AF3-AE91-020C2551D14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9" t="21530" b="39161"/>
          <a:stretch/>
        </p:blipFill>
        <p:spPr>
          <a:xfrm>
            <a:off x="1" y="3048000"/>
            <a:ext cx="12192000" cy="323107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8456AA-FB11-4906-92B5-75286F579D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C62992F-6D26-4BEF-90C3-9266FE7BE2E5}"/>
              </a:ext>
            </a:extLst>
          </p:cNvPr>
          <p:cNvSpPr/>
          <p:nvPr/>
        </p:nvSpPr>
        <p:spPr>
          <a:xfrm>
            <a:off x="0" y="3048000"/>
            <a:ext cx="12192000" cy="3231079"/>
          </a:xfrm>
          <a:prstGeom prst="rect">
            <a:avLst/>
          </a:prstGeom>
          <a:solidFill>
            <a:schemeClr val="tx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71B5898A-77E8-EC6D-4796-983FD2534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019259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24CFE3B-C05B-435B-89C6-B91BC89CA1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317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15D29A1-1FF6-479F-BFB3-B91A372D44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64" name="Picture 63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728A8714-CA02-4E87-94AE-733C810CA5E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2" t="1055" r="12967" b="963"/>
          <a:stretch/>
        </p:blipFill>
        <p:spPr>
          <a:xfrm>
            <a:off x="6096000" y="0"/>
            <a:ext cx="5562600" cy="6248400"/>
          </a:xfrm>
          <a:custGeom>
            <a:avLst/>
            <a:gdLst>
              <a:gd name="connsiteX0" fmla="*/ 0 w 5562600"/>
              <a:gd name="connsiteY0" fmla="*/ 0 h 6248400"/>
              <a:gd name="connsiteX1" fmla="*/ 5562600 w 5562600"/>
              <a:gd name="connsiteY1" fmla="*/ 0 h 6248400"/>
              <a:gd name="connsiteX2" fmla="*/ 5562600 w 5562600"/>
              <a:gd name="connsiteY2" fmla="*/ 6172415 h 6248400"/>
              <a:gd name="connsiteX3" fmla="*/ 5486615 w 5562600"/>
              <a:gd name="connsiteY3" fmla="*/ 6248400 h 6248400"/>
              <a:gd name="connsiteX4" fmla="*/ 75985 w 5562600"/>
              <a:gd name="connsiteY4" fmla="*/ 6248400 h 6248400"/>
              <a:gd name="connsiteX5" fmla="*/ 0 w 5562600"/>
              <a:gd name="connsiteY5" fmla="*/ 6172415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2600" h="6248400">
                <a:moveTo>
                  <a:pt x="0" y="0"/>
                </a:moveTo>
                <a:lnTo>
                  <a:pt x="5562600" y="0"/>
                </a:lnTo>
                <a:lnTo>
                  <a:pt x="5562600" y="6172415"/>
                </a:lnTo>
                <a:cubicBezTo>
                  <a:pt x="5562600" y="6214380"/>
                  <a:pt x="5528580" y="6248400"/>
                  <a:pt x="5486615" y="6248400"/>
                </a:cubicBezTo>
                <a:lnTo>
                  <a:pt x="75985" y="6248400"/>
                </a:lnTo>
                <a:cubicBezTo>
                  <a:pt x="34020" y="6248400"/>
                  <a:pt x="0" y="6214380"/>
                  <a:pt x="0" y="6172415"/>
                </a:cubicBezTo>
                <a:close/>
              </a:path>
            </a:pathLst>
          </a:custGeom>
        </p:spPr>
      </p:pic>
      <p:sp>
        <p:nvSpPr>
          <p:cNvPr id="3" name="Round Same Side Corner Rectangle 2">
            <a:extLst>
              <a:ext uri="{FF2B5EF4-FFF2-40B4-BE49-F238E27FC236}">
                <a16:creationId xmlns:a16="http://schemas.microsoft.com/office/drawing/2014/main" id="{7936CC43-B97C-438D-8A37-73FEE664560B}"/>
              </a:ext>
            </a:extLst>
          </p:cNvPr>
          <p:cNvSpPr/>
          <p:nvPr/>
        </p:nvSpPr>
        <p:spPr>
          <a:xfrm flipV="1">
            <a:off x="6096000" y="0"/>
            <a:ext cx="5562600" cy="6248400"/>
          </a:xfrm>
          <a:prstGeom prst="round2SameRect">
            <a:avLst>
              <a:gd name="adj1" fmla="val 1366"/>
              <a:gd name="adj2" fmla="val 0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70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Round Same Side Corner Rectangle 2">
            <a:extLst>
              <a:ext uri="{FF2B5EF4-FFF2-40B4-BE49-F238E27FC236}">
                <a16:creationId xmlns:a16="http://schemas.microsoft.com/office/drawing/2014/main" id="{6FF2A2F7-DC4F-4961-9AEE-6DEA2A6038C0}"/>
              </a:ext>
            </a:extLst>
          </p:cNvPr>
          <p:cNvSpPr/>
          <p:nvPr/>
        </p:nvSpPr>
        <p:spPr>
          <a:xfrm flipV="1">
            <a:off x="6096000" y="4856636"/>
            <a:ext cx="5562600" cy="1391763"/>
          </a:xfrm>
          <a:prstGeom prst="round2SameRect">
            <a:avLst>
              <a:gd name="adj1" fmla="val 1366"/>
              <a:gd name="adj2" fmla="val 0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0E1D411-03FC-46DB-80CD-EF73CF9417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BF0BD4-C3BA-4A69-9BE7-6F2C86A8D53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40897" y="3005138"/>
            <a:ext cx="4676775" cy="16605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endParaRPr lang="en-US" sz="48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3ACF517-BFE8-42D8-A1BC-789651F24F5F}"/>
              </a:ext>
            </a:extLst>
          </p:cNvPr>
          <p:cNvGrpSpPr/>
          <p:nvPr/>
        </p:nvGrpSpPr>
        <p:grpSpPr>
          <a:xfrm>
            <a:off x="640897" y="2246407"/>
            <a:ext cx="762453" cy="758957"/>
            <a:chOff x="1889126" y="11113"/>
            <a:chExt cx="346075" cy="344488"/>
          </a:xfrm>
          <a:solidFill>
            <a:schemeClr val="bg1"/>
          </a:solidFill>
        </p:grpSpPr>
        <p:sp>
          <p:nvSpPr>
            <p:cNvPr id="7" name="Freeform 177">
              <a:extLst>
                <a:ext uri="{FF2B5EF4-FFF2-40B4-BE49-F238E27FC236}">
                  <a16:creationId xmlns:a16="http://schemas.microsoft.com/office/drawing/2014/main" id="{36706261-142E-4C93-B312-592CC7000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776" y="11113"/>
              <a:ext cx="225425" cy="195263"/>
            </a:xfrm>
            <a:custGeom>
              <a:avLst/>
              <a:gdLst>
                <a:gd name="T0" fmla="*/ 52 w 142"/>
                <a:gd name="T1" fmla="*/ 85 h 123"/>
                <a:gd name="T2" fmla="*/ 71 w 142"/>
                <a:gd name="T3" fmla="*/ 85 h 123"/>
                <a:gd name="T4" fmla="*/ 71 w 142"/>
                <a:gd name="T5" fmla="*/ 123 h 123"/>
                <a:gd name="T6" fmla="*/ 109 w 142"/>
                <a:gd name="T7" fmla="*/ 85 h 123"/>
                <a:gd name="T8" fmla="*/ 142 w 142"/>
                <a:gd name="T9" fmla="*/ 85 h 123"/>
                <a:gd name="T10" fmla="*/ 142 w 142"/>
                <a:gd name="T11" fmla="*/ 0 h 123"/>
                <a:gd name="T12" fmla="*/ 0 w 142"/>
                <a:gd name="T13" fmla="*/ 0 h 123"/>
                <a:gd name="T14" fmla="*/ 0 w 142"/>
                <a:gd name="T15" fmla="*/ 3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123">
                  <a:moveTo>
                    <a:pt x="52" y="85"/>
                  </a:moveTo>
                  <a:lnTo>
                    <a:pt x="71" y="85"/>
                  </a:lnTo>
                  <a:lnTo>
                    <a:pt x="71" y="123"/>
                  </a:lnTo>
                  <a:lnTo>
                    <a:pt x="109" y="85"/>
                  </a:lnTo>
                  <a:lnTo>
                    <a:pt x="142" y="85"/>
                  </a:lnTo>
                  <a:lnTo>
                    <a:pt x="142" y="0"/>
                  </a:lnTo>
                  <a:lnTo>
                    <a:pt x="0" y="0"/>
                  </a:lnTo>
                  <a:lnTo>
                    <a:pt x="0" y="38"/>
                  </a:lnTo>
                </a:path>
              </a:pathLst>
            </a:custGeom>
            <a:grpFill/>
            <a:ln w="14288" cap="flat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178">
              <a:extLst>
                <a:ext uri="{FF2B5EF4-FFF2-40B4-BE49-F238E27FC236}">
                  <a16:creationId xmlns:a16="http://schemas.microsoft.com/office/drawing/2014/main" id="{851FBDCC-0BB5-4EA9-BD52-5501C0100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9126" y="244476"/>
              <a:ext cx="225425" cy="111125"/>
            </a:xfrm>
            <a:custGeom>
              <a:avLst/>
              <a:gdLst>
                <a:gd name="T0" fmla="*/ 22 w 60"/>
                <a:gd name="T1" fmla="*/ 1 h 30"/>
                <a:gd name="T2" fmla="*/ 22 w 60"/>
                <a:gd name="T3" fmla="*/ 9 h 30"/>
                <a:gd name="T4" fmla="*/ 6 w 60"/>
                <a:gd name="T5" fmla="*/ 15 h 30"/>
                <a:gd name="T6" fmla="*/ 0 w 60"/>
                <a:gd name="T7" fmla="*/ 24 h 30"/>
                <a:gd name="T8" fmla="*/ 0 w 60"/>
                <a:gd name="T9" fmla="*/ 30 h 30"/>
                <a:gd name="T10" fmla="*/ 60 w 60"/>
                <a:gd name="T11" fmla="*/ 30 h 30"/>
                <a:gd name="T12" fmla="*/ 60 w 60"/>
                <a:gd name="T13" fmla="*/ 24 h 30"/>
                <a:gd name="T14" fmla="*/ 54 w 60"/>
                <a:gd name="T15" fmla="*/ 15 h 30"/>
                <a:gd name="T16" fmla="*/ 38 w 60"/>
                <a:gd name="T17" fmla="*/ 9 h 30"/>
                <a:gd name="T18" fmla="*/ 38 w 60"/>
                <a:gd name="T1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30">
                  <a:moveTo>
                    <a:pt x="22" y="1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6"/>
                    <a:pt x="0" y="20"/>
                    <a:pt x="0" y="2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0"/>
                    <a:pt x="58" y="16"/>
                    <a:pt x="54" y="15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0"/>
                    <a:pt x="38" y="0"/>
                    <a:pt x="38" y="0"/>
                  </a:cubicBezTo>
                </a:path>
              </a:pathLst>
            </a:custGeom>
            <a:grpFill/>
            <a:ln w="14288" cap="flat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Oval 179">
              <a:extLst>
                <a:ext uri="{FF2B5EF4-FFF2-40B4-BE49-F238E27FC236}">
                  <a16:creationId xmlns:a16="http://schemas.microsoft.com/office/drawing/2014/main" id="{85A033FA-3BB6-455D-8052-82752EAA44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1514" y="112713"/>
              <a:ext cx="117475" cy="142875"/>
            </a:xfrm>
            <a:prstGeom prst="ellipse">
              <a:avLst/>
            </a:prstGeom>
            <a:grpFill/>
            <a:ln w="14288" cap="flat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180">
              <a:extLst>
                <a:ext uri="{FF2B5EF4-FFF2-40B4-BE49-F238E27FC236}">
                  <a16:creationId xmlns:a16="http://schemas.microsoft.com/office/drawing/2014/main" id="{784F0241-AF9E-43CC-9A3B-CB974C6AC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1514" y="157163"/>
              <a:ext cx="117475" cy="26988"/>
            </a:xfrm>
            <a:custGeom>
              <a:avLst/>
              <a:gdLst>
                <a:gd name="T0" fmla="*/ 31 w 31"/>
                <a:gd name="T1" fmla="*/ 5 h 7"/>
                <a:gd name="T2" fmla="*/ 30 w 31"/>
                <a:gd name="T3" fmla="*/ 6 h 7"/>
                <a:gd name="T4" fmla="*/ 18 w 31"/>
                <a:gd name="T5" fmla="*/ 0 h 7"/>
                <a:gd name="T6" fmla="*/ 6 w 31"/>
                <a:gd name="T7" fmla="*/ 6 h 7"/>
                <a:gd name="T8" fmla="*/ 0 w 31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7">
                  <a:moveTo>
                    <a:pt x="31" y="5"/>
                  </a:moveTo>
                  <a:cubicBezTo>
                    <a:pt x="31" y="6"/>
                    <a:pt x="30" y="6"/>
                    <a:pt x="30" y="6"/>
                  </a:cubicBezTo>
                  <a:cubicBezTo>
                    <a:pt x="24" y="7"/>
                    <a:pt x="21" y="5"/>
                    <a:pt x="18" y="0"/>
                  </a:cubicBezTo>
                  <a:cubicBezTo>
                    <a:pt x="16" y="3"/>
                    <a:pt x="11" y="6"/>
                    <a:pt x="6" y="6"/>
                  </a:cubicBezTo>
                  <a:cubicBezTo>
                    <a:pt x="4" y="6"/>
                    <a:pt x="2" y="5"/>
                    <a:pt x="0" y="4"/>
                  </a:cubicBezTo>
                </a:path>
              </a:pathLst>
            </a:custGeom>
            <a:grpFill/>
            <a:ln w="14288" cap="flat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181">
              <a:extLst>
                <a:ext uri="{FF2B5EF4-FFF2-40B4-BE49-F238E27FC236}">
                  <a16:creationId xmlns:a16="http://schemas.microsoft.com/office/drawing/2014/main" id="{081156A2-BC13-4ABC-B81C-61C16E71B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6939" y="77788"/>
              <a:ext cx="15875" cy="15875"/>
            </a:xfrm>
            <a:custGeom>
              <a:avLst/>
              <a:gdLst>
                <a:gd name="T0" fmla="*/ 10 w 10"/>
                <a:gd name="T1" fmla="*/ 0 h 10"/>
                <a:gd name="T2" fmla="*/ 0 w 10"/>
                <a:gd name="T3" fmla="*/ 0 h 10"/>
                <a:gd name="T4" fmla="*/ 0 w 10"/>
                <a:gd name="T5" fmla="*/ 10 h 10"/>
                <a:gd name="T6" fmla="*/ 10 w 10"/>
                <a:gd name="T7" fmla="*/ 10 h 10"/>
                <a:gd name="T8" fmla="*/ 10 w 10"/>
                <a:gd name="T9" fmla="*/ 0 h 10"/>
                <a:gd name="T10" fmla="*/ 10 w 10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0">
                  <a:moveTo>
                    <a:pt x="10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10" y="1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82">
              <a:extLst>
                <a:ext uri="{FF2B5EF4-FFF2-40B4-BE49-F238E27FC236}">
                  <a16:creationId xmlns:a16="http://schemas.microsoft.com/office/drawing/2014/main" id="{6A3C609C-7765-40DD-A6F8-D5967467D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89" y="77788"/>
              <a:ext cx="14288" cy="15875"/>
            </a:xfrm>
            <a:custGeom>
              <a:avLst/>
              <a:gdLst>
                <a:gd name="T0" fmla="*/ 9 w 9"/>
                <a:gd name="T1" fmla="*/ 0 h 10"/>
                <a:gd name="T2" fmla="*/ 0 w 9"/>
                <a:gd name="T3" fmla="*/ 0 h 10"/>
                <a:gd name="T4" fmla="*/ 0 w 9"/>
                <a:gd name="T5" fmla="*/ 10 h 10"/>
                <a:gd name="T6" fmla="*/ 9 w 9"/>
                <a:gd name="T7" fmla="*/ 10 h 10"/>
                <a:gd name="T8" fmla="*/ 9 w 9"/>
                <a:gd name="T9" fmla="*/ 0 h 10"/>
                <a:gd name="T10" fmla="*/ 9 w 9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0">
                  <a:moveTo>
                    <a:pt x="9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9" y="1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183">
              <a:extLst>
                <a:ext uri="{FF2B5EF4-FFF2-40B4-BE49-F238E27FC236}">
                  <a16:creationId xmlns:a16="http://schemas.microsoft.com/office/drawing/2014/main" id="{BD41F2BF-61E1-43BB-A24E-4993B97AB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6451" y="77788"/>
              <a:ext cx="15875" cy="15875"/>
            </a:xfrm>
            <a:custGeom>
              <a:avLst/>
              <a:gdLst>
                <a:gd name="T0" fmla="*/ 10 w 10"/>
                <a:gd name="T1" fmla="*/ 0 h 10"/>
                <a:gd name="T2" fmla="*/ 0 w 10"/>
                <a:gd name="T3" fmla="*/ 0 h 10"/>
                <a:gd name="T4" fmla="*/ 0 w 10"/>
                <a:gd name="T5" fmla="*/ 10 h 10"/>
                <a:gd name="T6" fmla="*/ 10 w 10"/>
                <a:gd name="T7" fmla="*/ 10 h 10"/>
                <a:gd name="T8" fmla="*/ 10 w 10"/>
                <a:gd name="T9" fmla="*/ 0 h 10"/>
                <a:gd name="T10" fmla="*/ 10 w 10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0">
                  <a:moveTo>
                    <a:pt x="10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10" y="1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FFC7C3F-C69F-4056-8F46-D62FE415D451}"/>
              </a:ext>
            </a:extLst>
          </p:cNvPr>
          <p:cNvSpPr/>
          <p:nvPr/>
        </p:nvSpPr>
        <p:spPr>
          <a:xfrm>
            <a:off x="5770793" y="450995"/>
            <a:ext cx="650412" cy="650412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63B2A59-96D9-49E7-904B-9CF10D2C2375}"/>
              </a:ext>
            </a:extLst>
          </p:cNvPr>
          <p:cNvSpPr/>
          <p:nvPr/>
        </p:nvSpPr>
        <p:spPr>
          <a:xfrm>
            <a:off x="5770793" y="1560535"/>
            <a:ext cx="650412" cy="650412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964CCB4-7FAD-4225-8DDF-DDEA5E881DE7}"/>
              </a:ext>
            </a:extLst>
          </p:cNvPr>
          <p:cNvSpPr/>
          <p:nvPr/>
        </p:nvSpPr>
        <p:spPr>
          <a:xfrm>
            <a:off x="5770793" y="2670075"/>
            <a:ext cx="650412" cy="650412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AE829CC-6E71-4A8C-9A8E-79ED390423E5}"/>
              </a:ext>
            </a:extLst>
          </p:cNvPr>
          <p:cNvSpPr/>
          <p:nvPr/>
        </p:nvSpPr>
        <p:spPr>
          <a:xfrm>
            <a:off x="5770793" y="3779616"/>
            <a:ext cx="650412" cy="650412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EAD184A-F6F5-4C33-816D-1CD46BCE0BA4}"/>
              </a:ext>
            </a:extLst>
          </p:cNvPr>
          <p:cNvSpPr/>
          <p:nvPr/>
        </p:nvSpPr>
        <p:spPr>
          <a:xfrm>
            <a:off x="6811452" y="418475"/>
            <a:ext cx="4480661" cy="7154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84F5FA8-F75E-4840-B7DF-93668E142474}"/>
              </a:ext>
            </a:extLst>
          </p:cNvPr>
          <p:cNvSpPr/>
          <p:nvPr/>
        </p:nvSpPr>
        <p:spPr>
          <a:xfrm>
            <a:off x="6811452" y="1528015"/>
            <a:ext cx="4480661" cy="7154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5002181-C866-45F6-A7A8-28BE0489A095}"/>
              </a:ext>
            </a:extLst>
          </p:cNvPr>
          <p:cNvSpPr/>
          <p:nvPr/>
        </p:nvSpPr>
        <p:spPr>
          <a:xfrm>
            <a:off x="6811452" y="2637555"/>
            <a:ext cx="4480661" cy="7154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9C77998-EA0F-4402-A94C-642E5A38F402}"/>
              </a:ext>
            </a:extLst>
          </p:cNvPr>
          <p:cNvSpPr/>
          <p:nvPr/>
        </p:nvSpPr>
        <p:spPr>
          <a:xfrm>
            <a:off x="6811452" y="3747096"/>
            <a:ext cx="4480661" cy="7154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1FDF13B-53E6-4EA2-B48A-69287B913AA9}"/>
              </a:ext>
            </a:extLst>
          </p:cNvPr>
          <p:cNvSpPr/>
          <p:nvPr/>
        </p:nvSpPr>
        <p:spPr>
          <a:xfrm>
            <a:off x="7305676" y="5194791"/>
            <a:ext cx="3986438" cy="7154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endParaRPr lang="en-US" sz="2000" b="1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3374D47-0756-460E-8E66-3B94B5B59412}"/>
              </a:ext>
            </a:extLst>
          </p:cNvPr>
          <p:cNvGrpSpPr/>
          <p:nvPr/>
        </p:nvGrpSpPr>
        <p:grpSpPr>
          <a:xfrm>
            <a:off x="6441915" y="5288833"/>
            <a:ext cx="527368" cy="527368"/>
            <a:chOff x="7726363" y="3255963"/>
            <a:chExt cx="346075" cy="346075"/>
          </a:xfrm>
        </p:grpSpPr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177470E4-1DF9-40D3-BFC5-C839126E5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255963"/>
              <a:ext cx="346075" cy="315913"/>
            </a:xfrm>
            <a:custGeom>
              <a:avLst/>
              <a:gdLst>
                <a:gd name="T0" fmla="*/ 64 w 92"/>
                <a:gd name="T1" fmla="*/ 75 h 84"/>
                <a:gd name="T2" fmla="*/ 73 w 92"/>
                <a:gd name="T3" fmla="*/ 84 h 84"/>
                <a:gd name="T4" fmla="*/ 84 w 92"/>
                <a:gd name="T5" fmla="*/ 73 h 84"/>
                <a:gd name="T6" fmla="*/ 75 w 92"/>
                <a:gd name="T7" fmla="*/ 64 h 84"/>
                <a:gd name="T8" fmla="*/ 79 w 92"/>
                <a:gd name="T9" fmla="*/ 52 h 84"/>
                <a:gd name="T10" fmla="*/ 92 w 92"/>
                <a:gd name="T11" fmla="*/ 52 h 84"/>
                <a:gd name="T12" fmla="*/ 92 w 92"/>
                <a:gd name="T13" fmla="*/ 40 h 84"/>
                <a:gd name="T14" fmla="*/ 79 w 92"/>
                <a:gd name="T15" fmla="*/ 40 h 84"/>
                <a:gd name="T16" fmla="*/ 75 w 92"/>
                <a:gd name="T17" fmla="*/ 28 h 84"/>
                <a:gd name="T18" fmla="*/ 84 w 92"/>
                <a:gd name="T19" fmla="*/ 19 h 84"/>
                <a:gd name="T20" fmla="*/ 73 w 92"/>
                <a:gd name="T21" fmla="*/ 8 h 84"/>
                <a:gd name="T22" fmla="*/ 64 w 92"/>
                <a:gd name="T23" fmla="*/ 17 h 84"/>
                <a:gd name="T24" fmla="*/ 52 w 92"/>
                <a:gd name="T25" fmla="*/ 13 h 84"/>
                <a:gd name="T26" fmla="*/ 52 w 92"/>
                <a:gd name="T27" fmla="*/ 0 h 84"/>
                <a:gd name="T28" fmla="*/ 40 w 92"/>
                <a:gd name="T29" fmla="*/ 0 h 84"/>
                <a:gd name="T30" fmla="*/ 40 w 92"/>
                <a:gd name="T31" fmla="*/ 13 h 84"/>
                <a:gd name="T32" fmla="*/ 28 w 92"/>
                <a:gd name="T33" fmla="*/ 17 h 84"/>
                <a:gd name="T34" fmla="*/ 19 w 92"/>
                <a:gd name="T35" fmla="*/ 8 h 84"/>
                <a:gd name="T36" fmla="*/ 8 w 92"/>
                <a:gd name="T37" fmla="*/ 19 h 84"/>
                <a:gd name="T38" fmla="*/ 17 w 92"/>
                <a:gd name="T39" fmla="*/ 28 h 84"/>
                <a:gd name="T40" fmla="*/ 13 w 92"/>
                <a:gd name="T41" fmla="*/ 40 h 84"/>
                <a:gd name="T42" fmla="*/ 0 w 92"/>
                <a:gd name="T43" fmla="*/ 40 h 84"/>
                <a:gd name="T44" fmla="*/ 0 w 92"/>
                <a:gd name="T45" fmla="*/ 52 h 84"/>
                <a:gd name="T46" fmla="*/ 13 w 92"/>
                <a:gd name="T47" fmla="*/ 52 h 84"/>
                <a:gd name="T48" fmla="*/ 17 w 92"/>
                <a:gd name="T49" fmla="*/ 64 h 84"/>
                <a:gd name="T50" fmla="*/ 8 w 92"/>
                <a:gd name="T51" fmla="*/ 73 h 84"/>
                <a:gd name="T52" fmla="*/ 19 w 92"/>
                <a:gd name="T53" fmla="*/ 84 h 84"/>
                <a:gd name="T54" fmla="*/ 28 w 92"/>
                <a:gd name="T5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84">
                  <a:moveTo>
                    <a:pt x="64" y="75"/>
                  </a:move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8" y="37"/>
                    <a:pt x="77" y="31"/>
                    <a:pt x="75" y="28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</a:path>
              </a:pathLst>
            </a:custGeom>
            <a:noFill/>
            <a:ln w="15875" cap="rnd">
              <a:solidFill>
                <a:srgbClr val="86BC2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121">
              <a:extLst>
                <a:ext uri="{FF2B5EF4-FFF2-40B4-BE49-F238E27FC236}">
                  <a16:creationId xmlns:a16="http://schemas.microsoft.com/office/drawing/2014/main" id="{1918D209-57B3-4F5B-A862-653A919A1F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57588"/>
              <a:ext cx="44450" cy="0"/>
            </a:xfrm>
            <a:prstGeom prst="line">
              <a:avLst/>
            </a:prstGeom>
            <a:noFill/>
            <a:ln w="15875" cap="rnd">
              <a:solidFill>
                <a:srgbClr val="86BC2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Line 122">
              <a:extLst>
                <a:ext uri="{FF2B5EF4-FFF2-40B4-BE49-F238E27FC236}">
                  <a16:creationId xmlns:a16="http://schemas.microsoft.com/office/drawing/2014/main" id="{CE8765B0-4479-43A8-8689-88A63B0980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87750"/>
              <a:ext cx="44450" cy="0"/>
            </a:xfrm>
            <a:prstGeom prst="line">
              <a:avLst/>
            </a:prstGeom>
            <a:noFill/>
            <a:ln w="15875" cap="rnd">
              <a:solidFill>
                <a:srgbClr val="86BC2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Line 123">
              <a:extLst>
                <a:ext uri="{FF2B5EF4-FFF2-40B4-BE49-F238E27FC236}">
                  <a16:creationId xmlns:a16="http://schemas.microsoft.com/office/drawing/2014/main" id="{BA80EC27-ED82-40C0-9778-92C81D854A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9400" y="3587750"/>
              <a:ext cx="0" cy="14288"/>
            </a:xfrm>
            <a:prstGeom prst="line">
              <a:avLst/>
            </a:prstGeom>
            <a:noFill/>
            <a:ln w="15875" cap="rnd">
              <a:solidFill>
                <a:srgbClr val="86BC2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24">
              <a:extLst>
                <a:ext uri="{FF2B5EF4-FFF2-40B4-BE49-F238E27FC236}">
                  <a16:creationId xmlns:a16="http://schemas.microsoft.com/office/drawing/2014/main" id="{1733A645-BCED-4024-90F0-E87BA0DE5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3346450"/>
              <a:ext cx="173038" cy="180975"/>
            </a:xfrm>
            <a:custGeom>
              <a:avLst/>
              <a:gdLst>
                <a:gd name="T0" fmla="*/ 46 w 46"/>
                <a:gd name="T1" fmla="*/ 22 h 48"/>
                <a:gd name="T2" fmla="*/ 23 w 46"/>
                <a:gd name="T3" fmla="*/ 0 h 48"/>
                <a:gd name="T4" fmla="*/ 0 w 46"/>
                <a:gd name="T5" fmla="*/ 22 h 48"/>
                <a:gd name="T6" fmla="*/ 17 w 46"/>
                <a:gd name="T7" fmla="*/ 43 h 48"/>
                <a:gd name="T8" fmla="*/ 17 w 46"/>
                <a:gd name="T9" fmla="*/ 48 h 48"/>
                <a:gd name="T10" fmla="*/ 29 w 46"/>
                <a:gd name="T11" fmla="*/ 48 h 48"/>
                <a:gd name="T12" fmla="*/ 29 w 46"/>
                <a:gd name="T13" fmla="*/ 43 h 48"/>
                <a:gd name="T14" fmla="*/ 46 w 46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8">
                  <a:moveTo>
                    <a:pt x="46" y="22"/>
                  </a:move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2"/>
                    <a:pt x="7" y="41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9" y="41"/>
                    <a:pt x="46" y="32"/>
                    <a:pt x="46" y="22"/>
                  </a:cubicBezTo>
                  <a:close/>
                </a:path>
              </a:pathLst>
            </a:custGeom>
            <a:noFill/>
            <a:ln w="15875" cap="rnd">
              <a:solidFill>
                <a:srgbClr val="86BC2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8B310EE-6031-4A96-9D2A-40D1008D99C9}"/>
              </a:ext>
            </a:extLst>
          </p:cNvPr>
          <p:cNvGrpSpPr/>
          <p:nvPr/>
        </p:nvGrpSpPr>
        <p:grpSpPr>
          <a:xfrm>
            <a:off x="5966590" y="646195"/>
            <a:ext cx="258819" cy="260013"/>
            <a:chOff x="7005638" y="3978275"/>
            <a:chExt cx="344488" cy="346076"/>
          </a:xfrm>
        </p:grpSpPr>
        <p:sp>
          <p:nvSpPr>
            <p:cNvPr id="32" name="Line 253">
              <a:extLst>
                <a:ext uri="{FF2B5EF4-FFF2-40B4-BE49-F238E27FC236}">
                  <a16:creationId xmlns:a16="http://schemas.microsoft.com/office/drawing/2014/main" id="{C80E6B39-A038-4F8D-BE95-3113E0E17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0088" y="4068763"/>
              <a:ext cx="6826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254">
              <a:extLst>
                <a:ext uri="{FF2B5EF4-FFF2-40B4-BE49-F238E27FC236}">
                  <a16:creationId xmlns:a16="http://schemas.microsoft.com/office/drawing/2014/main" id="{2ABBA980-71E0-4956-A50D-E9645B6E40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0088" y="4113213"/>
              <a:ext cx="1206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255">
              <a:extLst>
                <a:ext uri="{FF2B5EF4-FFF2-40B4-BE49-F238E27FC236}">
                  <a16:creationId xmlns:a16="http://schemas.microsoft.com/office/drawing/2014/main" id="{1059F767-ADD0-4F6D-9218-F1EF8CC931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0088" y="4159250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Line 256">
              <a:extLst>
                <a:ext uri="{FF2B5EF4-FFF2-40B4-BE49-F238E27FC236}">
                  <a16:creationId xmlns:a16="http://schemas.microsoft.com/office/drawing/2014/main" id="{C7CB2CEF-AD98-4DF3-ABFD-2F07472780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0088" y="4203700"/>
              <a:ext cx="746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Oval 257">
              <a:extLst>
                <a:ext uri="{FF2B5EF4-FFF2-40B4-BE49-F238E27FC236}">
                  <a16:creationId xmlns:a16="http://schemas.microsoft.com/office/drawing/2014/main" id="{63661803-0C6A-4AB3-9175-55DE13C4F4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0901" y="4173538"/>
              <a:ext cx="112713" cy="112713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Line 258">
              <a:extLst>
                <a:ext uri="{FF2B5EF4-FFF2-40B4-BE49-F238E27FC236}">
                  <a16:creationId xmlns:a16="http://schemas.microsoft.com/office/drawing/2014/main" id="{FAAF9256-4B79-4C9A-AF4D-E0338C9AE4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97738" y="4271963"/>
              <a:ext cx="52388" cy="52388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259">
              <a:extLst>
                <a:ext uri="{FF2B5EF4-FFF2-40B4-BE49-F238E27FC236}">
                  <a16:creationId xmlns:a16="http://schemas.microsoft.com/office/drawing/2014/main" id="{71502030-BE94-41B6-98F2-40C93AC05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978275"/>
              <a:ext cx="239713" cy="315913"/>
            </a:xfrm>
            <a:custGeom>
              <a:avLst/>
              <a:gdLst>
                <a:gd name="T0" fmla="*/ 113 w 151"/>
                <a:gd name="T1" fmla="*/ 199 h 199"/>
                <a:gd name="T2" fmla="*/ 0 w 151"/>
                <a:gd name="T3" fmla="*/ 199 h 199"/>
                <a:gd name="T4" fmla="*/ 0 w 151"/>
                <a:gd name="T5" fmla="*/ 0 h 199"/>
                <a:gd name="T6" fmla="*/ 104 w 151"/>
                <a:gd name="T7" fmla="*/ 0 h 199"/>
                <a:gd name="T8" fmla="*/ 151 w 151"/>
                <a:gd name="T9" fmla="*/ 47 h 199"/>
                <a:gd name="T10" fmla="*/ 151 w 151"/>
                <a:gd name="T11" fmla="*/ 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99">
                  <a:moveTo>
                    <a:pt x="113" y="199"/>
                  </a:moveTo>
                  <a:lnTo>
                    <a:pt x="0" y="199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51" y="47"/>
                  </a:lnTo>
                  <a:lnTo>
                    <a:pt x="151" y="99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260">
              <a:extLst>
                <a:ext uri="{FF2B5EF4-FFF2-40B4-BE49-F238E27FC236}">
                  <a16:creationId xmlns:a16="http://schemas.microsoft.com/office/drawing/2014/main" id="{37BFB5FD-EC4D-4B83-94D3-85BE1782A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0738" y="3978275"/>
              <a:ext cx="74613" cy="74613"/>
            </a:xfrm>
            <a:custGeom>
              <a:avLst/>
              <a:gdLst>
                <a:gd name="T0" fmla="*/ 0 w 47"/>
                <a:gd name="T1" fmla="*/ 0 h 47"/>
                <a:gd name="T2" fmla="*/ 0 w 47"/>
                <a:gd name="T3" fmla="*/ 47 h 47"/>
                <a:gd name="T4" fmla="*/ 47 w 47"/>
                <a:gd name="T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7">
                  <a:moveTo>
                    <a:pt x="0" y="0"/>
                  </a:moveTo>
                  <a:lnTo>
                    <a:pt x="0" y="47"/>
                  </a:lnTo>
                  <a:lnTo>
                    <a:pt x="47" y="4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C1D39A7-D08E-46FC-95EC-BE65392946F5}"/>
              </a:ext>
            </a:extLst>
          </p:cNvPr>
          <p:cNvGrpSpPr/>
          <p:nvPr/>
        </p:nvGrpSpPr>
        <p:grpSpPr>
          <a:xfrm>
            <a:off x="5922962" y="1788110"/>
            <a:ext cx="346075" cy="195263"/>
            <a:chOff x="4119563" y="4054475"/>
            <a:chExt cx="346075" cy="195263"/>
          </a:xfrm>
        </p:grpSpPr>
        <p:sp>
          <p:nvSpPr>
            <p:cNvPr id="41" name="Oval 146">
              <a:extLst>
                <a:ext uri="{FF2B5EF4-FFF2-40B4-BE49-F238E27FC236}">
                  <a16:creationId xmlns:a16="http://schemas.microsoft.com/office/drawing/2014/main" id="{5CE5570C-66FC-4F62-9482-9DFCAD418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4054475"/>
              <a:ext cx="346075" cy="195263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Oval 147">
              <a:extLst>
                <a:ext uri="{FF2B5EF4-FFF2-40B4-BE49-F238E27FC236}">
                  <a16:creationId xmlns:a16="http://schemas.microsoft.com/office/drawing/2014/main" id="{89C0B20E-9BFD-43B7-9D10-F037232BCA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276" y="4090988"/>
              <a:ext cx="120650" cy="12065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48">
              <a:extLst>
                <a:ext uri="{FF2B5EF4-FFF2-40B4-BE49-F238E27FC236}">
                  <a16:creationId xmlns:a16="http://schemas.microsoft.com/office/drawing/2014/main" id="{DF821073-23D9-4D23-A180-1C0AA84C5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4121150"/>
              <a:ext cx="60325" cy="60325"/>
            </a:xfrm>
            <a:custGeom>
              <a:avLst/>
              <a:gdLst>
                <a:gd name="T0" fmla="*/ 8 w 16"/>
                <a:gd name="T1" fmla="*/ 0 h 16"/>
                <a:gd name="T2" fmla="*/ 16 w 16"/>
                <a:gd name="T3" fmla="*/ 8 h 16"/>
                <a:gd name="T4" fmla="*/ 8 w 16"/>
                <a:gd name="T5" fmla="*/ 16 h 16"/>
                <a:gd name="T6" fmla="*/ 0 w 16"/>
                <a:gd name="T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6">
                  <a:moveTo>
                    <a:pt x="8" y="0"/>
                  </a:move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771A8BA-D6A4-4E1D-8BD5-2B51313DA54D}"/>
              </a:ext>
            </a:extLst>
          </p:cNvPr>
          <p:cNvGrpSpPr/>
          <p:nvPr/>
        </p:nvGrpSpPr>
        <p:grpSpPr>
          <a:xfrm>
            <a:off x="5953649" y="3965096"/>
            <a:ext cx="284700" cy="279452"/>
            <a:chOff x="9169401" y="4700588"/>
            <a:chExt cx="344487" cy="338137"/>
          </a:xfrm>
        </p:grpSpPr>
        <p:sp>
          <p:nvSpPr>
            <p:cNvPr id="45" name="Line 369">
              <a:extLst>
                <a:ext uri="{FF2B5EF4-FFF2-40B4-BE49-F238E27FC236}">
                  <a16:creationId xmlns:a16="http://schemas.microsoft.com/office/drawing/2014/main" id="{A043B511-EBB2-448A-A75E-6A95706177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13851" y="4789488"/>
              <a:ext cx="6826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370">
              <a:extLst>
                <a:ext uri="{FF2B5EF4-FFF2-40B4-BE49-F238E27FC236}">
                  <a16:creationId xmlns:a16="http://schemas.microsoft.com/office/drawing/2014/main" id="{403C4614-49E7-471A-9810-41517E5038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13851" y="4835525"/>
              <a:ext cx="1206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371">
              <a:extLst>
                <a:ext uri="{FF2B5EF4-FFF2-40B4-BE49-F238E27FC236}">
                  <a16:creationId xmlns:a16="http://schemas.microsoft.com/office/drawing/2014/main" id="{BAD0E03D-D874-4535-B298-92A901F6E4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13851" y="4879975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372">
              <a:extLst>
                <a:ext uri="{FF2B5EF4-FFF2-40B4-BE49-F238E27FC236}">
                  <a16:creationId xmlns:a16="http://schemas.microsoft.com/office/drawing/2014/main" id="{8B8FB22C-9D7D-45DD-8CE3-5C76BDF7E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13851" y="4926013"/>
              <a:ext cx="746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373">
              <a:extLst>
                <a:ext uri="{FF2B5EF4-FFF2-40B4-BE49-F238E27FC236}">
                  <a16:creationId xmlns:a16="http://schemas.microsoft.com/office/drawing/2014/main" id="{E48B91A3-2E27-40CF-ABAF-4825C26F5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788" y="4873625"/>
              <a:ext cx="165100" cy="165100"/>
            </a:xfrm>
            <a:custGeom>
              <a:avLst/>
              <a:gdLst>
                <a:gd name="T0" fmla="*/ 33 w 104"/>
                <a:gd name="T1" fmla="*/ 94 h 104"/>
                <a:gd name="T2" fmla="*/ 0 w 104"/>
                <a:gd name="T3" fmla="*/ 104 h 104"/>
                <a:gd name="T4" fmla="*/ 10 w 104"/>
                <a:gd name="T5" fmla="*/ 71 h 104"/>
                <a:gd name="T6" fmla="*/ 81 w 104"/>
                <a:gd name="T7" fmla="*/ 0 h 104"/>
                <a:gd name="T8" fmla="*/ 104 w 104"/>
                <a:gd name="T9" fmla="*/ 23 h 104"/>
                <a:gd name="T10" fmla="*/ 33 w 104"/>
                <a:gd name="T11" fmla="*/ 9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04">
                  <a:moveTo>
                    <a:pt x="33" y="94"/>
                  </a:moveTo>
                  <a:lnTo>
                    <a:pt x="0" y="104"/>
                  </a:lnTo>
                  <a:lnTo>
                    <a:pt x="10" y="71"/>
                  </a:lnTo>
                  <a:lnTo>
                    <a:pt x="81" y="0"/>
                  </a:lnTo>
                  <a:lnTo>
                    <a:pt x="104" y="23"/>
                  </a:lnTo>
                  <a:lnTo>
                    <a:pt x="33" y="94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Line 374">
              <a:extLst>
                <a:ext uri="{FF2B5EF4-FFF2-40B4-BE49-F238E27FC236}">
                  <a16:creationId xmlns:a16="http://schemas.microsoft.com/office/drawing/2014/main" id="{6C3E2E15-CD6C-457A-B041-7267A0B566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47213" y="4903788"/>
              <a:ext cx="36513" cy="36513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Line 375">
              <a:extLst>
                <a:ext uri="{FF2B5EF4-FFF2-40B4-BE49-F238E27FC236}">
                  <a16:creationId xmlns:a16="http://schemas.microsoft.com/office/drawing/2014/main" id="{2F067C85-439D-4A67-B576-96C7C67BA7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64663" y="4986338"/>
              <a:ext cx="36513" cy="36513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376">
              <a:extLst>
                <a:ext uri="{FF2B5EF4-FFF2-40B4-BE49-F238E27FC236}">
                  <a16:creationId xmlns:a16="http://schemas.microsoft.com/office/drawing/2014/main" id="{51CB594D-1378-41C1-8EBD-DF54A4A7D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9401" y="4700588"/>
              <a:ext cx="239713" cy="315913"/>
            </a:xfrm>
            <a:custGeom>
              <a:avLst/>
              <a:gdLst>
                <a:gd name="T0" fmla="*/ 99 w 151"/>
                <a:gd name="T1" fmla="*/ 199 h 199"/>
                <a:gd name="T2" fmla="*/ 0 w 151"/>
                <a:gd name="T3" fmla="*/ 199 h 199"/>
                <a:gd name="T4" fmla="*/ 0 w 151"/>
                <a:gd name="T5" fmla="*/ 0 h 199"/>
                <a:gd name="T6" fmla="*/ 104 w 151"/>
                <a:gd name="T7" fmla="*/ 0 h 199"/>
                <a:gd name="T8" fmla="*/ 151 w 151"/>
                <a:gd name="T9" fmla="*/ 47 h 199"/>
                <a:gd name="T10" fmla="*/ 151 w 151"/>
                <a:gd name="T11" fmla="*/ 10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99">
                  <a:moveTo>
                    <a:pt x="99" y="199"/>
                  </a:moveTo>
                  <a:lnTo>
                    <a:pt x="0" y="199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51" y="47"/>
                  </a:lnTo>
                  <a:lnTo>
                    <a:pt x="151" y="109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377">
              <a:extLst>
                <a:ext uri="{FF2B5EF4-FFF2-40B4-BE49-F238E27FC236}">
                  <a16:creationId xmlns:a16="http://schemas.microsoft.com/office/drawing/2014/main" id="{9D721005-985A-4074-90B6-70EB16150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1" y="4700588"/>
              <a:ext cx="74613" cy="74613"/>
            </a:xfrm>
            <a:custGeom>
              <a:avLst/>
              <a:gdLst>
                <a:gd name="T0" fmla="*/ 0 w 47"/>
                <a:gd name="T1" fmla="*/ 0 h 47"/>
                <a:gd name="T2" fmla="*/ 0 w 47"/>
                <a:gd name="T3" fmla="*/ 47 h 47"/>
                <a:gd name="T4" fmla="*/ 47 w 47"/>
                <a:gd name="T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7">
                  <a:moveTo>
                    <a:pt x="0" y="0"/>
                  </a:moveTo>
                  <a:lnTo>
                    <a:pt x="0" y="47"/>
                  </a:lnTo>
                  <a:lnTo>
                    <a:pt x="47" y="4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5B15A51-915B-4B88-9886-7B0E876FDB46}"/>
              </a:ext>
            </a:extLst>
          </p:cNvPr>
          <p:cNvGrpSpPr/>
          <p:nvPr/>
        </p:nvGrpSpPr>
        <p:grpSpPr>
          <a:xfrm>
            <a:off x="5954567" y="2837974"/>
            <a:ext cx="282864" cy="314614"/>
            <a:chOff x="6299200" y="5060951"/>
            <a:chExt cx="311150" cy="346075"/>
          </a:xfrm>
        </p:grpSpPr>
        <p:sp>
          <p:nvSpPr>
            <p:cNvPr id="55" name="Freeform 344">
              <a:extLst>
                <a:ext uri="{FF2B5EF4-FFF2-40B4-BE49-F238E27FC236}">
                  <a16:creationId xmlns:a16="http://schemas.microsoft.com/office/drawing/2014/main" id="{BEE57F35-6D1F-4B31-9322-4A0C85A47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0" y="5060951"/>
              <a:ext cx="311150" cy="346075"/>
            </a:xfrm>
            <a:custGeom>
              <a:avLst/>
              <a:gdLst>
                <a:gd name="T0" fmla="*/ 74 w 83"/>
                <a:gd name="T1" fmla="*/ 32 h 92"/>
                <a:gd name="T2" fmla="*/ 38 w 83"/>
                <a:gd name="T3" fmla="*/ 0 h 92"/>
                <a:gd name="T4" fmla="*/ 0 w 83"/>
                <a:gd name="T5" fmla="*/ 38 h 92"/>
                <a:gd name="T6" fmla="*/ 16 w 83"/>
                <a:gd name="T7" fmla="*/ 69 h 92"/>
                <a:gd name="T8" fmla="*/ 16 w 83"/>
                <a:gd name="T9" fmla="*/ 92 h 92"/>
                <a:gd name="T10" fmla="*/ 56 w 83"/>
                <a:gd name="T11" fmla="*/ 92 h 92"/>
                <a:gd name="T12" fmla="*/ 56 w 83"/>
                <a:gd name="T13" fmla="*/ 78 h 92"/>
                <a:gd name="T14" fmla="*/ 71 w 83"/>
                <a:gd name="T15" fmla="*/ 75 h 92"/>
                <a:gd name="T16" fmla="*/ 74 w 83"/>
                <a:gd name="T17" fmla="*/ 56 h 92"/>
                <a:gd name="T18" fmla="*/ 80 w 83"/>
                <a:gd name="T19" fmla="*/ 56 h 92"/>
                <a:gd name="T20" fmla="*/ 82 w 83"/>
                <a:gd name="T21" fmla="*/ 55 h 92"/>
                <a:gd name="T22" fmla="*/ 83 w 83"/>
                <a:gd name="T23" fmla="*/ 52 h 92"/>
                <a:gd name="T24" fmla="*/ 74 w 83"/>
                <a:gd name="T25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92">
                  <a:moveTo>
                    <a:pt x="74" y="32"/>
                  </a:moveTo>
                  <a:cubicBezTo>
                    <a:pt x="74" y="11"/>
                    <a:pt x="55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0"/>
                    <a:pt x="4" y="62"/>
                    <a:pt x="16" y="69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4" y="78"/>
                    <a:pt x="68" y="78"/>
                    <a:pt x="71" y="75"/>
                  </a:cubicBezTo>
                  <a:cubicBezTo>
                    <a:pt x="74" y="71"/>
                    <a:pt x="74" y="56"/>
                    <a:pt x="74" y="56"/>
                  </a:cubicBezTo>
                  <a:cubicBezTo>
                    <a:pt x="74" y="56"/>
                    <a:pt x="78" y="56"/>
                    <a:pt x="80" y="56"/>
                  </a:cubicBezTo>
                  <a:cubicBezTo>
                    <a:pt x="81" y="56"/>
                    <a:pt x="82" y="56"/>
                    <a:pt x="82" y="55"/>
                  </a:cubicBezTo>
                  <a:cubicBezTo>
                    <a:pt x="83" y="54"/>
                    <a:pt x="83" y="53"/>
                    <a:pt x="83" y="52"/>
                  </a:cubicBezTo>
                  <a:cubicBezTo>
                    <a:pt x="83" y="46"/>
                    <a:pt x="74" y="35"/>
                    <a:pt x="74" y="32"/>
                  </a:cubicBez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Line 345">
              <a:extLst>
                <a:ext uri="{FF2B5EF4-FFF2-40B4-BE49-F238E27FC236}">
                  <a16:creationId xmlns:a16="http://schemas.microsoft.com/office/drawing/2014/main" id="{19EF66A3-B48F-4F82-925F-88145E87FD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34138" y="5167313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346">
              <a:extLst>
                <a:ext uri="{FF2B5EF4-FFF2-40B4-BE49-F238E27FC236}">
                  <a16:creationId xmlns:a16="http://schemas.microsoft.com/office/drawing/2014/main" id="{B77C4278-364F-48C3-B1D2-7C4284A830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3975" y="5197476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Line 347">
              <a:extLst>
                <a:ext uri="{FF2B5EF4-FFF2-40B4-BE49-F238E27FC236}">
                  <a16:creationId xmlns:a16="http://schemas.microsoft.com/office/drawing/2014/main" id="{A3848126-5F72-41E2-96C6-6E5EB0CFCF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3975" y="5227638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348">
              <a:extLst>
                <a:ext uri="{FF2B5EF4-FFF2-40B4-BE49-F238E27FC236}">
                  <a16:creationId xmlns:a16="http://schemas.microsoft.com/office/drawing/2014/main" id="{95F8B611-CFF6-49C8-B204-C31B45AE9B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3975" y="5257801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Rectangle 349">
              <a:extLst>
                <a:ext uri="{FF2B5EF4-FFF2-40B4-BE49-F238E27FC236}">
                  <a16:creationId xmlns:a16="http://schemas.microsoft.com/office/drawing/2014/main" id="{AF8319FA-D643-4B7C-ABFB-1E9327A2B6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3813" y="5137151"/>
              <a:ext cx="150813" cy="1508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A679941F-F4EF-4222-843F-C47851548287}"/>
              </a:ext>
            </a:extLst>
          </p:cNvPr>
          <p:cNvCxnSpPr>
            <a:cxnSpLocks/>
          </p:cNvCxnSpPr>
          <p:nvPr/>
        </p:nvCxnSpPr>
        <p:spPr>
          <a:xfrm>
            <a:off x="6832600" y="1330971"/>
            <a:ext cx="43815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0C75A35E-3CB0-4E2A-85D9-0BB6DC58D4B0}"/>
              </a:ext>
            </a:extLst>
          </p:cNvPr>
          <p:cNvCxnSpPr>
            <a:cxnSpLocks/>
          </p:cNvCxnSpPr>
          <p:nvPr/>
        </p:nvCxnSpPr>
        <p:spPr>
          <a:xfrm>
            <a:off x="6832600" y="2440511"/>
            <a:ext cx="43815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D2C09E3-8DFB-42C9-8CF0-A8112364A9A7}"/>
              </a:ext>
            </a:extLst>
          </p:cNvPr>
          <p:cNvCxnSpPr>
            <a:cxnSpLocks/>
          </p:cNvCxnSpPr>
          <p:nvPr/>
        </p:nvCxnSpPr>
        <p:spPr>
          <a:xfrm>
            <a:off x="6832600" y="3550052"/>
            <a:ext cx="43815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96526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8A1AEA-ECAA-4361-8EE6-872025A29A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6501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59A001-C024-4032-8F3B-A67714CADE6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56" name="Picture 55" descr="A person sitting at a table in front of a window&#10;&#10;Description automatically generated">
            <a:extLst>
              <a:ext uri="{FF2B5EF4-FFF2-40B4-BE49-F238E27FC236}">
                <a16:creationId xmlns:a16="http://schemas.microsoft.com/office/drawing/2014/main" id="{B76B9809-9CD4-4298-86F3-707DA662D72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" t="47112" r="1077" b="31872"/>
          <a:stretch/>
        </p:blipFill>
        <p:spPr>
          <a:xfrm>
            <a:off x="-1" y="1524000"/>
            <a:ext cx="12191991" cy="1733549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8697A1E6-DB06-4A87-8D8D-EEFCE210916B}"/>
              </a:ext>
            </a:extLst>
          </p:cNvPr>
          <p:cNvSpPr/>
          <p:nvPr/>
        </p:nvSpPr>
        <p:spPr>
          <a:xfrm>
            <a:off x="523878" y="5949949"/>
            <a:ext cx="11096621" cy="298449"/>
          </a:xfrm>
          <a:prstGeom prst="rect">
            <a:avLst/>
          </a:prstGeom>
          <a:pattFill prst="dk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CF2571-D1AD-4977-A90A-D7569E9AB548}"/>
              </a:ext>
            </a:extLst>
          </p:cNvPr>
          <p:cNvSpPr/>
          <p:nvPr/>
        </p:nvSpPr>
        <p:spPr>
          <a:xfrm>
            <a:off x="0" y="1524000"/>
            <a:ext cx="12192000" cy="173355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2B281AF-28C6-41B8-A272-B0F6F0DD586B}"/>
              </a:ext>
            </a:extLst>
          </p:cNvPr>
          <p:cNvSpPr/>
          <p:nvPr/>
        </p:nvSpPr>
        <p:spPr>
          <a:xfrm>
            <a:off x="533400" y="3074436"/>
            <a:ext cx="11125200" cy="41171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2F3EA8-83C7-44C6-A942-93F4B3E3A1D9}"/>
              </a:ext>
            </a:extLst>
          </p:cNvPr>
          <p:cNvCxnSpPr>
            <a:cxnSpLocks/>
          </p:cNvCxnSpPr>
          <p:nvPr/>
        </p:nvCxnSpPr>
        <p:spPr>
          <a:xfrm>
            <a:off x="827314" y="3280293"/>
            <a:ext cx="1065348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049124-7C05-41FB-8242-AB1DE85292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41141F-991E-4A66-A7C8-F10A68F31F3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0AB492E-BA1D-4CC2-829D-0A06B811E0D9}"/>
              </a:ext>
            </a:extLst>
          </p:cNvPr>
          <p:cNvSpPr/>
          <p:nvPr/>
        </p:nvSpPr>
        <p:spPr>
          <a:xfrm>
            <a:off x="1675207" y="2527077"/>
            <a:ext cx="1386685" cy="1386685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E6FAB83-54E8-4BA7-9430-9CEB9F07BA1A}"/>
              </a:ext>
            </a:extLst>
          </p:cNvPr>
          <p:cNvSpPr/>
          <p:nvPr/>
        </p:nvSpPr>
        <p:spPr>
          <a:xfrm>
            <a:off x="5402657" y="2527077"/>
            <a:ext cx="1386685" cy="1386685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042AE55-7931-491E-A0C1-F11DEB0E76B3}"/>
              </a:ext>
            </a:extLst>
          </p:cNvPr>
          <p:cNvSpPr/>
          <p:nvPr/>
        </p:nvSpPr>
        <p:spPr>
          <a:xfrm>
            <a:off x="9130108" y="2527077"/>
            <a:ext cx="1386685" cy="1386685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6DCC2B07-CDC0-4649-87AA-A14CB65FDD3A}"/>
              </a:ext>
            </a:extLst>
          </p:cNvPr>
          <p:cNvSpPr/>
          <p:nvPr/>
        </p:nvSpPr>
        <p:spPr>
          <a:xfrm rot="5400000">
            <a:off x="4123307" y="3193542"/>
            <a:ext cx="198882" cy="17145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625C7297-CA07-4E4F-9835-0263F52E1899}"/>
              </a:ext>
            </a:extLst>
          </p:cNvPr>
          <p:cNvSpPr/>
          <p:nvPr/>
        </p:nvSpPr>
        <p:spPr>
          <a:xfrm rot="5400000">
            <a:off x="7831706" y="3193542"/>
            <a:ext cx="198882" cy="17145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FEFFD40-16A9-496E-BFEE-2EBDA8FA35EB}"/>
              </a:ext>
            </a:extLst>
          </p:cNvPr>
          <p:cNvSpPr/>
          <p:nvPr/>
        </p:nvSpPr>
        <p:spPr>
          <a:xfrm>
            <a:off x="1931199" y="2789908"/>
            <a:ext cx="861023" cy="8610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5B87C3D-7C48-4050-AD1C-2D1128599039}"/>
              </a:ext>
            </a:extLst>
          </p:cNvPr>
          <p:cNvSpPr/>
          <p:nvPr/>
        </p:nvSpPr>
        <p:spPr>
          <a:xfrm>
            <a:off x="5658649" y="2789908"/>
            <a:ext cx="861023" cy="8610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98796F4-C834-4C94-A029-C568B2889520}"/>
              </a:ext>
            </a:extLst>
          </p:cNvPr>
          <p:cNvSpPr/>
          <p:nvPr/>
        </p:nvSpPr>
        <p:spPr>
          <a:xfrm>
            <a:off x="9386100" y="2789908"/>
            <a:ext cx="861023" cy="8610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E747E58-5C62-4950-B5EF-EF5AA858AB37}"/>
              </a:ext>
            </a:extLst>
          </p:cNvPr>
          <p:cNvGrpSpPr/>
          <p:nvPr/>
        </p:nvGrpSpPr>
        <p:grpSpPr>
          <a:xfrm>
            <a:off x="2213279" y="3030078"/>
            <a:ext cx="296863" cy="380683"/>
            <a:chOff x="3429001" y="2533651"/>
            <a:chExt cx="269875" cy="346075"/>
          </a:xfrm>
        </p:grpSpPr>
        <p:sp>
          <p:nvSpPr>
            <p:cNvPr id="27" name="Rectangle 17">
              <a:extLst>
                <a:ext uri="{FF2B5EF4-FFF2-40B4-BE49-F238E27FC236}">
                  <a16:creationId xmlns:a16="http://schemas.microsoft.com/office/drawing/2014/main" id="{0AD21F02-5CFE-4F3D-B689-1504E0933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9001" y="2654301"/>
              <a:ext cx="150813" cy="225425"/>
            </a:xfrm>
            <a:prstGeom prst="rect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465A06E8-C1AD-4A7A-8C03-27A3BDA92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651" y="2533651"/>
              <a:ext cx="149225" cy="346075"/>
            </a:xfrm>
            <a:custGeom>
              <a:avLst/>
              <a:gdLst>
                <a:gd name="T0" fmla="*/ 94 w 94"/>
                <a:gd name="T1" fmla="*/ 218 h 218"/>
                <a:gd name="T2" fmla="*/ 19 w 94"/>
                <a:gd name="T3" fmla="*/ 218 h 218"/>
                <a:gd name="T4" fmla="*/ 19 w 94"/>
                <a:gd name="T5" fmla="*/ 76 h 218"/>
                <a:gd name="T6" fmla="*/ 0 w 94"/>
                <a:gd name="T7" fmla="*/ 76 h 218"/>
                <a:gd name="T8" fmla="*/ 0 w 94"/>
                <a:gd name="T9" fmla="*/ 0 h 218"/>
                <a:gd name="T10" fmla="*/ 94 w 94"/>
                <a:gd name="T11" fmla="*/ 0 h 218"/>
                <a:gd name="T12" fmla="*/ 94 w 94"/>
                <a:gd name="T13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218">
                  <a:moveTo>
                    <a:pt x="94" y="218"/>
                  </a:moveTo>
                  <a:lnTo>
                    <a:pt x="19" y="218"/>
                  </a:lnTo>
                  <a:lnTo>
                    <a:pt x="19" y="76"/>
                  </a:lnTo>
                  <a:lnTo>
                    <a:pt x="0" y="76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18"/>
                  </a:lnTo>
                  <a:close/>
                </a:path>
              </a:pathLst>
            </a:cu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Rectangle 19">
              <a:extLst>
                <a:ext uri="{FF2B5EF4-FFF2-40B4-BE49-F238E27FC236}">
                  <a16:creationId xmlns:a16="http://schemas.microsoft.com/office/drawing/2014/main" id="{C7D4461F-C3A2-49FB-B464-27738AD42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4263" y="2835276"/>
              <a:ext cx="44450" cy="44450"/>
            </a:xfrm>
            <a:prstGeom prst="rect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Rectangle 20">
              <a:extLst>
                <a:ext uri="{FF2B5EF4-FFF2-40B4-BE49-F238E27FC236}">
                  <a16:creationId xmlns:a16="http://schemas.microsoft.com/office/drawing/2014/main" id="{82AA778A-8F42-4B67-B391-A5B5535032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9163" y="2835276"/>
              <a:ext cx="44450" cy="44450"/>
            </a:xfrm>
            <a:prstGeom prst="rect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21">
              <a:extLst>
                <a:ext uri="{FF2B5EF4-FFF2-40B4-BE49-F238E27FC236}">
                  <a16:creationId xmlns:a16="http://schemas.microsoft.com/office/drawing/2014/main" id="{743F0854-0764-45FA-AD62-46FE61F7DD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684463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22">
              <a:extLst>
                <a:ext uri="{FF2B5EF4-FFF2-40B4-BE49-F238E27FC236}">
                  <a16:creationId xmlns:a16="http://schemas.microsoft.com/office/drawing/2014/main" id="{D4575DCD-09CE-4081-8B28-9656AEF9D6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714626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23">
              <a:extLst>
                <a:ext uri="{FF2B5EF4-FFF2-40B4-BE49-F238E27FC236}">
                  <a16:creationId xmlns:a16="http://schemas.microsoft.com/office/drawing/2014/main" id="{60B66C43-3F11-46BD-8D96-F6B1344488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593976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24">
              <a:extLst>
                <a:ext uri="{FF2B5EF4-FFF2-40B4-BE49-F238E27FC236}">
                  <a16:creationId xmlns:a16="http://schemas.microsoft.com/office/drawing/2014/main" id="{26359FB9-0F5E-4D8B-A19B-B3E4073C0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563813"/>
              <a:ext cx="90488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Line 25">
              <a:extLst>
                <a:ext uri="{FF2B5EF4-FFF2-40B4-BE49-F238E27FC236}">
                  <a16:creationId xmlns:a16="http://schemas.microsoft.com/office/drawing/2014/main" id="{AD3F9110-40B3-4776-B545-426D16635B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624138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Line 26">
              <a:extLst>
                <a:ext uri="{FF2B5EF4-FFF2-40B4-BE49-F238E27FC236}">
                  <a16:creationId xmlns:a16="http://schemas.microsoft.com/office/drawing/2014/main" id="{14AF52B0-8567-4EC5-89DB-969B3DB708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744788"/>
              <a:ext cx="30163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71050E7-5DBF-45EC-8389-3D2C7F1F8F28}"/>
              </a:ext>
            </a:extLst>
          </p:cNvPr>
          <p:cNvGrpSpPr/>
          <p:nvPr/>
        </p:nvGrpSpPr>
        <p:grpSpPr>
          <a:xfrm>
            <a:off x="5879784" y="3038896"/>
            <a:ext cx="418752" cy="363046"/>
            <a:chOff x="8447088" y="2925764"/>
            <a:chExt cx="346076" cy="300038"/>
          </a:xfrm>
        </p:grpSpPr>
        <p:sp>
          <p:nvSpPr>
            <p:cNvPr id="38" name="Freeform 145">
              <a:extLst>
                <a:ext uri="{FF2B5EF4-FFF2-40B4-BE49-F238E27FC236}">
                  <a16:creationId xmlns:a16="http://schemas.microsoft.com/office/drawing/2014/main" id="{832F1820-E592-411F-8A69-D0552054C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3030539"/>
              <a:ext cx="76200" cy="134938"/>
            </a:xfrm>
            <a:custGeom>
              <a:avLst/>
              <a:gdLst>
                <a:gd name="T0" fmla="*/ 0 w 20"/>
                <a:gd name="T1" fmla="*/ 0 h 36"/>
                <a:gd name="T2" fmla="*/ 0 w 20"/>
                <a:gd name="T3" fmla="*/ 12 h 36"/>
                <a:gd name="T4" fmla="*/ 4 w 20"/>
                <a:gd name="T5" fmla="*/ 18 h 36"/>
                <a:gd name="T6" fmla="*/ 4 w 20"/>
                <a:gd name="T7" fmla="*/ 36 h 36"/>
                <a:gd name="T8" fmla="*/ 16 w 20"/>
                <a:gd name="T9" fmla="*/ 36 h 36"/>
                <a:gd name="T10" fmla="*/ 16 w 20"/>
                <a:gd name="T11" fmla="*/ 18 h 36"/>
                <a:gd name="T12" fmla="*/ 20 w 20"/>
                <a:gd name="T13" fmla="*/ 12 h 36"/>
                <a:gd name="T14" fmla="*/ 20 w 20"/>
                <a:gd name="T15" fmla="*/ 0 h 36"/>
                <a:gd name="T16" fmla="*/ 0 w 20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6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1" y="18"/>
                    <a:pt x="4" y="18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9" y="18"/>
                    <a:pt x="20" y="15"/>
                    <a:pt x="20" y="12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46">
              <a:extLst>
                <a:ext uri="{FF2B5EF4-FFF2-40B4-BE49-F238E27FC236}">
                  <a16:creationId xmlns:a16="http://schemas.microsoft.com/office/drawing/2014/main" id="{4E2E1310-9646-4F89-ADB2-325AEEC2B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551" y="3030539"/>
              <a:ext cx="74613" cy="134938"/>
            </a:xfrm>
            <a:custGeom>
              <a:avLst/>
              <a:gdLst>
                <a:gd name="T0" fmla="*/ 0 w 20"/>
                <a:gd name="T1" fmla="*/ 0 h 36"/>
                <a:gd name="T2" fmla="*/ 0 w 20"/>
                <a:gd name="T3" fmla="*/ 12 h 36"/>
                <a:gd name="T4" fmla="*/ 4 w 20"/>
                <a:gd name="T5" fmla="*/ 18 h 36"/>
                <a:gd name="T6" fmla="*/ 4 w 20"/>
                <a:gd name="T7" fmla="*/ 36 h 36"/>
                <a:gd name="T8" fmla="*/ 16 w 20"/>
                <a:gd name="T9" fmla="*/ 36 h 36"/>
                <a:gd name="T10" fmla="*/ 16 w 20"/>
                <a:gd name="T11" fmla="*/ 18 h 36"/>
                <a:gd name="T12" fmla="*/ 20 w 20"/>
                <a:gd name="T13" fmla="*/ 12 h 36"/>
                <a:gd name="T14" fmla="*/ 20 w 20"/>
                <a:gd name="T15" fmla="*/ 0 h 36"/>
                <a:gd name="T16" fmla="*/ 0 w 20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6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1" y="18"/>
                    <a:pt x="4" y="18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9" y="18"/>
                    <a:pt x="20" y="15"/>
                    <a:pt x="20" y="12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47">
              <a:extLst>
                <a:ext uri="{FF2B5EF4-FFF2-40B4-BE49-F238E27FC236}">
                  <a16:creationId xmlns:a16="http://schemas.microsoft.com/office/drawing/2014/main" id="{57666F1C-6FD3-4DA0-8EF4-0E8A2E339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7738" y="3030539"/>
              <a:ext cx="104775" cy="195263"/>
            </a:xfrm>
            <a:custGeom>
              <a:avLst/>
              <a:gdLst>
                <a:gd name="T0" fmla="*/ 0 w 28"/>
                <a:gd name="T1" fmla="*/ 0 h 52"/>
                <a:gd name="T2" fmla="*/ 28 w 28"/>
                <a:gd name="T3" fmla="*/ 0 h 52"/>
                <a:gd name="T4" fmla="*/ 28 w 28"/>
                <a:gd name="T5" fmla="*/ 20 h 52"/>
                <a:gd name="T6" fmla="*/ 20 w 28"/>
                <a:gd name="T7" fmla="*/ 28 h 52"/>
                <a:gd name="T8" fmla="*/ 20 w 28"/>
                <a:gd name="T9" fmla="*/ 52 h 52"/>
                <a:gd name="T10" fmla="*/ 8 w 28"/>
                <a:gd name="T11" fmla="*/ 52 h 52"/>
                <a:gd name="T12" fmla="*/ 8 w 28"/>
                <a:gd name="T13" fmla="*/ 28 h 52"/>
                <a:gd name="T14" fmla="*/ 0 w 28"/>
                <a:gd name="T15" fmla="*/ 20 h 52"/>
                <a:gd name="T16" fmla="*/ 0 w 28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52">
                  <a:moveTo>
                    <a:pt x="0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4" y="28"/>
                    <a:pt x="0" y="24"/>
                    <a:pt x="0" y="2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48">
              <a:extLst>
                <a:ext uri="{FF2B5EF4-FFF2-40B4-BE49-F238E27FC236}">
                  <a16:creationId xmlns:a16="http://schemas.microsoft.com/office/drawing/2014/main" id="{A2086BCA-B92F-45E6-A66A-A382E3103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2963" y="2955926"/>
              <a:ext cx="44450" cy="44450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6 w 12"/>
                <a:gd name="T5" fmla="*/ 12 h 12"/>
                <a:gd name="T6" fmla="*/ 0 w 12"/>
                <a:gd name="T7" fmla="*/ 6 h 12"/>
                <a:gd name="T8" fmla="*/ 0 w 12"/>
                <a:gd name="T9" fmla="*/ 6 h 12"/>
                <a:gd name="T10" fmla="*/ 6 w 12"/>
                <a:gd name="T11" fmla="*/ 0 h 12"/>
                <a:gd name="T12" fmla="*/ 6 w 12"/>
                <a:gd name="T13" fmla="*/ 0 h 12"/>
                <a:gd name="T14" fmla="*/ 12 w 12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9"/>
                    <a:pt x="9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149">
              <a:extLst>
                <a:ext uri="{FF2B5EF4-FFF2-40B4-BE49-F238E27FC236}">
                  <a16:creationId xmlns:a16="http://schemas.microsoft.com/office/drawing/2014/main" id="{F9CA0F39-A7C8-4B37-8672-ABA48F15F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2838" y="2955926"/>
              <a:ext cx="46038" cy="44450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6 w 12"/>
                <a:gd name="T5" fmla="*/ 12 h 12"/>
                <a:gd name="T6" fmla="*/ 0 w 12"/>
                <a:gd name="T7" fmla="*/ 6 h 12"/>
                <a:gd name="T8" fmla="*/ 0 w 12"/>
                <a:gd name="T9" fmla="*/ 6 h 12"/>
                <a:gd name="T10" fmla="*/ 6 w 12"/>
                <a:gd name="T11" fmla="*/ 0 h 12"/>
                <a:gd name="T12" fmla="*/ 6 w 12"/>
                <a:gd name="T13" fmla="*/ 0 h 12"/>
                <a:gd name="T14" fmla="*/ 12 w 12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9"/>
                    <a:pt x="9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50">
              <a:extLst>
                <a:ext uri="{FF2B5EF4-FFF2-40B4-BE49-F238E27FC236}">
                  <a16:creationId xmlns:a16="http://schemas.microsoft.com/office/drawing/2014/main" id="{A0E1B9BF-4B72-48C6-AD21-77F0A44FF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613" y="2925764"/>
              <a:ext cx="74613" cy="74613"/>
            </a:xfrm>
            <a:custGeom>
              <a:avLst/>
              <a:gdLst>
                <a:gd name="T0" fmla="*/ 20 w 20"/>
                <a:gd name="T1" fmla="*/ 10 h 20"/>
                <a:gd name="T2" fmla="*/ 10 w 20"/>
                <a:gd name="T3" fmla="*/ 20 h 20"/>
                <a:gd name="T4" fmla="*/ 10 w 20"/>
                <a:gd name="T5" fmla="*/ 20 h 20"/>
                <a:gd name="T6" fmla="*/ 0 w 20"/>
                <a:gd name="T7" fmla="*/ 10 h 20"/>
                <a:gd name="T8" fmla="*/ 0 w 20"/>
                <a:gd name="T9" fmla="*/ 10 h 20"/>
                <a:gd name="T10" fmla="*/ 10 w 20"/>
                <a:gd name="T11" fmla="*/ 0 h 20"/>
                <a:gd name="T12" fmla="*/ 10 w 20"/>
                <a:gd name="T13" fmla="*/ 0 h 20"/>
                <a:gd name="T14" fmla="*/ 20 w 20"/>
                <a:gd name="T15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20" y="10"/>
                  </a:moveTo>
                  <a:cubicBezTo>
                    <a:pt x="20" y="16"/>
                    <a:pt x="16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4" y="20"/>
                    <a:pt x="0" y="16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B22C44F-6AE6-4DFF-AC1E-5B533E900941}"/>
              </a:ext>
            </a:extLst>
          </p:cNvPr>
          <p:cNvGrpSpPr/>
          <p:nvPr/>
        </p:nvGrpSpPr>
        <p:grpSpPr>
          <a:xfrm>
            <a:off x="9612038" y="3011044"/>
            <a:ext cx="409146" cy="418751"/>
            <a:chOff x="2681288" y="4338638"/>
            <a:chExt cx="338137" cy="346075"/>
          </a:xfrm>
        </p:grpSpPr>
        <p:sp>
          <p:nvSpPr>
            <p:cNvPr id="45" name="Oval 334">
              <a:extLst>
                <a:ext uri="{FF2B5EF4-FFF2-40B4-BE49-F238E27FC236}">
                  <a16:creationId xmlns:a16="http://schemas.microsoft.com/office/drawing/2014/main" id="{378345A8-B7A8-4C63-B189-4CD1ACC7C5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1450" y="4338638"/>
              <a:ext cx="104775" cy="106363"/>
            </a:xfrm>
            <a:prstGeom prst="ellipse">
              <a:avLst/>
            </a:pr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35">
              <a:extLst>
                <a:ext uri="{FF2B5EF4-FFF2-40B4-BE49-F238E27FC236}">
                  <a16:creationId xmlns:a16="http://schemas.microsoft.com/office/drawing/2014/main" id="{DF0F663E-1A0A-4B7F-B7C7-916EACE83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4475163"/>
              <a:ext cx="165100" cy="209550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7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36">
              <a:extLst>
                <a:ext uri="{FF2B5EF4-FFF2-40B4-BE49-F238E27FC236}">
                  <a16:creationId xmlns:a16="http://schemas.microsoft.com/office/drawing/2014/main" id="{7FAA4124-B979-4B11-BD0B-1C0434B9C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9550" y="4475163"/>
              <a:ext cx="30163" cy="104775"/>
            </a:xfrm>
            <a:custGeom>
              <a:avLst/>
              <a:gdLst>
                <a:gd name="T0" fmla="*/ 14 w 19"/>
                <a:gd name="T1" fmla="*/ 0 h 66"/>
                <a:gd name="T2" fmla="*/ 4 w 19"/>
                <a:gd name="T3" fmla="*/ 0 h 66"/>
                <a:gd name="T4" fmla="*/ 0 w 19"/>
                <a:gd name="T5" fmla="*/ 57 h 66"/>
                <a:gd name="T6" fmla="*/ 9 w 19"/>
                <a:gd name="T7" fmla="*/ 66 h 66"/>
                <a:gd name="T8" fmla="*/ 19 w 19"/>
                <a:gd name="T9" fmla="*/ 57 h 66"/>
                <a:gd name="T10" fmla="*/ 14 w 19"/>
                <a:gd name="T11" fmla="*/ 0 h 66"/>
                <a:gd name="T12" fmla="*/ 14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4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Freeform 337">
              <a:extLst>
                <a:ext uri="{FF2B5EF4-FFF2-40B4-BE49-F238E27FC236}">
                  <a16:creationId xmlns:a16="http://schemas.microsoft.com/office/drawing/2014/main" id="{ABB1AD37-0C46-41F5-BB52-309B3243B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4325" y="4354513"/>
              <a:ext cx="150813" cy="180975"/>
            </a:xfrm>
            <a:custGeom>
              <a:avLst/>
              <a:gdLst>
                <a:gd name="T0" fmla="*/ 0 w 40"/>
                <a:gd name="T1" fmla="*/ 6 h 48"/>
                <a:gd name="T2" fmla="*/ 16 w 40"/>
                <a:gd name="T3" fmla="*/ 0 h 48"/>
                <a:gd name="T4" fmla="*/ 40 w 40"/>
                <a:gd name="T5" fmla="*/ 24 h 48"/>
                <a:gd name="T6" fmla="*/ 16 w 40"/>
                <a:gd name="T7" fmla="*/ 48 h 48"/>
                <a:gd name="T8" fmla="*/ 7 w 40"/>
                <a:gd name="T9" fmla="*/ 4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8">
                  <a:moveTo>
                    <a:pt x="0" y="6"/>
                  </a:moveTo>
                  <a:cubicBezTo>
                    <a:pt x="5" y="2"/>
                    <a:pt x="10" y="0"/>
                    <a:pt x="16" y="0"/>
                  </a:cubicBezTo>
                  <a:cubicBezTo>
                    <a:pt x="29" y="0"/>
                    <a:pt x="40" y="11"/>
                    <a:pt x="40" y="24"/>
                  </a:cubicBezTo>
                  <a:cubicBezTo>
                    <a:pt x="40" y="37"/>
                    <a:pt x="29" y="48"/>
                    <a:pt x="16" y="48"/>
                  </a:cubicBezTo>
                  <a:cubicBezTo>
                    <a:pt x="13" y="48"/>
                    <a:pt x="9" y="47"/>
                    <a:pt x="7" y="46"/>
                  </a:cubicBezTo>
                </a:path>
              </a:pathLst>
            </a:cu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338">
              <a:extLst>
                <a:ext uri="{FF2B5EF4-FFF2-40B4-BE49-F238E27FC236}">
                  <a16:creationId xmlns:a16="http://schemas.microsoft.com/office/drawing/2014/main" id="{4CD20508-C192-4C32-884B-E3D100259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6550" y="4338638"/>
              <a:ext cx="142875" cy="139700"/>
            </a:xfrm>
            <a:custGeom>
              <a:avLst/>
              <a:gdLst>
                <a:gd name="T0" fmla="*/ 90 w 90"/>
                <a:gd name="T1" fmla="*/ 0 h 88"/>
                <a:gd name="T2" fmla="*/ 24 w 90"/>
                <a:gd name="T3" fmla="*/ 88 h 88"/>
                <a:gd name="T4" fmla="*/ 0 w 90"/>
                <a:gd name="T5" fmla="*/ 6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0" h="88">
                  <a:moveTo>
                    <a:pt x="90" y="0"/>
                  </a:moveTo>
                  <a:lnTo>
                    <a:pt x="24" y="88"/>
                  </a:lnTo>
                  <a:lnTo>
                    <a:pt x="0" y="62"/>
                  </a:lnTo>
                </a:path>
              </a:pathLst>
            </a:cu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EB2BB5A2-A43B-4257-8350-25CBB4AEAC74}"/>
              </a:ext>
            </a:extLst>
          </p:cNvPr>
          <p:cNvSpPr/>
          <p:nvPr/>
        </p:nvSpPr>
        <p:spPr>
          <a:xfrm>
            <a:off x="1498810" y="5562600"/>
            <a:ext cx="9194380" cy="685799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DECEF098-FFE4-481C-B391-69068FAB320F}"/>
              </a:ext>
            </a:extLst>
          </p:cNvPr>
          <p:cNvSpPr/>
          <p:nvPr/>
        </p:nvSpPr>
        <p:spPr>
          <a:xfrm>
            <a:off x="1187450" y="5562600"/>
            <a:ext cx="311360" cy="387350"/>
          </a:xfrm>
          <a:prstGeom prst="triangle">
            <a:avLst>
              <a:gd name="adj" fmla="val 10000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6A331CEC-6256-493B-9B21-C571081B7C16}"/>
              </a:ext>
            </a:extLst>
          </p:cNvPr>
          <p:cNvSpPr/>
          <p:nvPr/>
        </p:nvSpPr>
        <p:spPr>
          <a:xfrm flipH="1">
            <a:off x="10689804" y="5562600"/>
            <a:ext cx="311360" cy="387350"/>
          </a:xfrm>
          <a:prstGeom prst="triangle">
            <a:avLst>
              <a:gd name="adj" fmla="val 10000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8651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64CE9-70A7-49A3-933B-EEA102C41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74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3D2521-13ED-477A-BCD9-9D94C8DA7A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33" name="Picture 32" descr="A group of people in a room&#10;&#10;Description automatically generated">
            <a:extLst>
              <a:ext uri="{FF2B5EF4-FFF2-40B4-BE49-F238E27FC236}">
                <a16:creationId xmlns:a16="http://schemas.microsoft.com/office/drawing/2014/main" id="{D74D3205-406D-4BC3-AE23-E4D381C9DA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5" r="43426" b="8889"/>
          <a:stretch>
            <a:fillRect/>
          </a:stretch>
        </p:blipFill>
        <p:spPr>
          <a:xfrm>
            <a:off x="0" y="0"/>
            <a:ext cx="5562600" cy="6248400"/>
          </a:xfrm>
          <a:custGeom>
            <a:avLst/>
            <a:gdLst>
              <a:gd name="connsiteX0" fmla="*/ 0 w 5562600"/>
              <a:gd name="connsiteY0" fmla="*/ 0 h 6248400"/>
              <a:gd name="connsiteX1" fmla="*/ 5562600 w 5562600"/>
              <a:gd name="connsiteY1" fmla="*/ 0 h 6248400"/>
              <a:gd name="connsiteX2" fmla="*/ 5562600 w 5562600"/>
              <a:gd name="connsiteY2" fmla="*/ 6172415 h 6248400"/>
              <a:gd name="connsiteX3" fmla="*/ 5486615 w 5562600"/>
              <a:gd name="connsiteY3" fmla="*/ 6248400 h 6248400"/>
              <a:gd name="connsiteX4" fmla="*/ 75985 w 5562600"/>
              <a:gd name="connsiteY4" fmla="*/ 6248400 h 6248400"/>
              <a:gd name="connsiteX5" fmla="*/ 0 w 5562600"/>
              <a:gd name="connsiteY5" fmla="*/ 6172415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2600" h="6248400">
                <a:moveTo>
                  <a:pt x="0" y="0"/>
                </a:moveTo>
                <a:lnTo>
                  <a:pt x="5562600" y="0"/>
                </a:lnTo>
                <a:lnTo>
                  <a:pt x="5562600" y="6172415"/>
                </a:lnTo>
                <a:cubicBezTo>
                  <a:pt x="5562600" y="6214380"/>
                  <a:pt x="5528580" y="6248400"/>
                  <a:pt x="5486615" y="6248400"/>
                </a:cubicBezTo>
                <a:lnTo>
                  <a:pt x="75985" y="6248400"/>
                </a:lnTo>
                <a:cubicBezTo>
                  <a:pt x="34020" y="6248400"/>
                  <a:pt x="0" y="6214380"/>
                  <a:pt x="0" y="6172415"/>
                </a:cubicBezTo>
                <a:close/>
              </a:path>
            </a:pathLst>
          </a:custGeom>
        </p:spPr>
      </p:pic>
      <p:sp>
        <p:nvSpPr>
          <p:cNvPr id="3" name="Round Same Side Corner Rectangle 2">
            <a:extLst>
              <a:ext uri="{FF2B5EF4-FFF2-40B4-BE49-F238E27FC236}">
                <a16:creationId xmlns:a16="http://schemas.microsoft.com/office/drawing/2014/main" id="{DC57DF56-EF03-4845-AA78-AB3B727A51E8}"/>
              </a:ext>
            </a:extLst>
          </p:cNvPr>
          <p:cNvSpPr/>
          <p:nvPr/>
        </p:nvSpPr>
        <p:spPr>
          <a:xfrm flipV="1">
            <a:off x="0" y="0"/>
            <a:ext cx="5562600" cy="6248400"/>
          </a:xfrm>
          <a:prstGeom prst="round2SameRect">
            <a:avLst>
              <a:gd name="adj1" fmla="val 1366"/>
              <a:gd name="adj2" fmla="val 0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70000"/>
                </a:schemeClr>
              </a:gs>
              <a:gs pos="100000">
                <a:schemeClr val="tx1">
                  <a:lumMod val="95000"/>
                  <a:lumOff val="5000"/>
                  <a:alpha val="9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7E0320-A126-4AA8-B095-443C2B017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8CF9DC-FFAE-4963-A49B-4118CAEA43B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1543" y="657726"/>
            <a:ext cx="4552950" cy="1479550"/>
          </a:xfrm>
        </p:spPr>
        <p:txBody>
          <a:bodyPr lIns="0" rIns="0">
            <a:noAutofit/>
          </a:bodyPr>
          <a:lstStyle/>
          <a:p>
            <a:pPr>
              <a:lnSpc>
                <a:spcPct val="10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294AB4-1DD0-4CF8-B44A-7681DE969F28}"/>
              </a:ext>
            </a:extLst>
          </p:cNvPr>
          <p:cNvSpPr txBox="1"/>
          <p:nvPr/>
        </p:nvSpPr>
        <p:spPr>
          <a:xfrm>
            <a:off x="6096000" y="298264"/>
            <a:ext cx="695325" cy="6319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7A5EB2-CE81-48BD-86F9-0835110345B8}"/>
              </a:ext>
            </a:extLst>
          </p:cNvPr>
          <p:cNvSpPr txBox="1"/>
          <p:nvPr/>
        </p:nvSpPr>
        <p:spPr>
          <a:xfrm>
            <a:off x="6096000" y="1510207"/>
            <a:ext cx="695325" cy="6319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2BA396-A1BD-4EB5-A14C-7242CCF24700}"/>
              </a:ext>
            </a:extLst>
          </p:cNvPr>
          <p:cNvSpPr txBox="1"/>
          <p:nvPr/>
        </p:nvSpPr>
        <p:spPr>
          <a:xfrm>
            <a:off x="6096000" y="2722150"/>
            <a:ext cx="695325" cy="6319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7F722F-E4C2-494C-9CE4-CDB488F52B10}"/>
              </a:ext>
            </a:extLst>
          </p:cNvPr>
          <p:cNvSpPr txBox="1"/>
          <p:nvPr/>
        </p:nvSpPr>
        <p:spPr>
          <a:xfrm>
            <a:off x="6096000" y="3934093"/>
            <a:ext cx="695325" cy="6319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8D270C8-6145-4F66-ADA8-1E23C1458385}"/>
              </a:ext>
            </a:extLst>
          </p:cNvPr>
          <p:cNvSpPr txBox="1"/>
          <p:nvPr/>
        </p:nvSpPr>
        <p:spPr>
          <a:xfrm>
            <a:off x="6096000" y="5146035"/>
            <a:ext cx="695325" cy="6319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5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E73099E-C2BC-4B11-8D08-908AE3C70FD9}"/>
              </a:ext>
            </a:extLst>
          </p:cNvPr>
          <p:cNvCxnSpPr>
            <a:cxnSpLocks/>
          </p:cNvCxnSpPr>
          <p:nvPr/>
        </p:nvCxnSpPr>
        <p:spPr>
          <a:xfrm>
            <a:off x="6096000" y="1430151"/>
            <a:ext cx="554445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3D6F9F1-921B-425F-80EB-86633072AD50}"/>
              </a:ext>
            </a:extLst>
          </p:cNvPr>
          <p:cNvCxnSpPr>
            <a:cxnSpLocks/>
          </p:cNvCxnSpPr>
          <p:nvPr/>
        </p:nvCxnSpPr>
        <p:spPr>
          <a:xfrm>
            <a:off x="6096000" y="2642094"/>
            <a:ext cx="554445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F95ADB-CF62-4EFC-83FF-2C5127BC2CE2}"/>
              </a:ext>
            </a:extLst>
          </p:cNvPr>
          <p:cNvCxnSpPr>
            <a:cxnSpLocks/>
          </p:cNvCxnSpPr>
          <p:nvPr/>
        </p:nvCxnSpPr>
        <p:spPr>
          <a:xfrm>
            <a:off x="6096000" y="3854037"/>
            <a:ext cx="554445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586254C-6320-47FB-ADF4-A0B76C21E7DB}"/>
              </a:ext>
            </a:extLst>
          </p:cNvPr>
          <p:cNvCxnSpPr>
            <a:cxnSpLocks/>
          </p:cNvCxnSpPr>
          <p:nvPr/>
        </p:nvCxnSpPr>
        <p:spPr>
          <a:xfrm>
            <a:off x="6096000" y="5065980"/>
            <a:ext cx="554445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74058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74E7EAF-EF24-4040-A50C-627DAFBD12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288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355E47-9BC1-4BC7-8EC3-209F7499121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30" name="Picture 29" descr="A person sitting at a table&#10;&#10;Description automatically generated">
            <a:extLst>
              <a:ext uri="{FF2B5EF4-FFF2-40B4-BE49-F238E27FC236}">
                <a16:creationId xmlns:a16="http://schemas.microsoft.com/office/drawing/2014/main" id="{6F756636-0C14-427A-9130-5684C9E943E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5" t="3402" r="2149" b="2417"/>
          <a:stretch/>
        </p:blipFill>
        <p:spPr>
          <a:xfrm>
            <a:off x="5358064" y="1796718"/>
            <a:ext cx="6833937" cy="4451682"/>
          </a:xfrm>
          <a:custGeom>
            <a:avLst/>
            <a:gdLst>
              <a:gd name="connsiteX0" fmla="*/ 32097 w 6833937"/>
              <a:gd name="connsiteY0" fmla="*/ 0 h 4451682"/>
              <a:gd name="connsiteX1" fmla="*/ 6833937 w 6833937"/>
              <a:gd name="connsiteY1" fmla="*/ 0 h 4451682"/>
              <a:gd name="connsiteX2" fmla="*/ 6833937 w 6833937"/>
              <a:gd name="connsiteY2" fmla="*/ 4451682 h 4451682"/>
              <a:gd name="connsiteX3" fmla="*/ 32097 w 6833937"/>
              <a:gd name="connsiteY3" fmla="*/ 4451682 h 4451682"/>
              <a:gd name="connsiteX4" fmla="*/ 0 w 6833937"/>
              <a:gd name="connsiteY4" fmla="*/ 4419584 h 4451682"/>
              <a:gd name="connsiteX5" fmla="*/ 0 w 6833937"/>
              <a:gd name="connsiteY5" fmla="*/ 32096 h 4451682"/>
              <a:gd name="connsiteX6" fmla="*/ 32097 w 6833937"/>
              <a:gd name="connsiteY6" fmla="*/ 0 h 4451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33937" h="4451682">
                <a:moveTo>
                  <a:pt x="32097" y="0"/>
                </a:moveTo>
                <a:lnTo>
                  <a:pt x="6833937" y="0"/>
                </a:lnTo>
                <a:lnTo>
                  <a:pt x="6833937" y="4451682"/>
                </a:lnTo>
                <a:lnTo>
                  <a:pt x="32097" y="4451682"/>
                </a:lnTo>
                <a:cubicBezTo>
                  <a:pt x="14370" y="4451682"/>
                  <a:pt x="0" y="4437312"/>
                  <a:pt x="0" y="4419584"/>
                </a:cubicBezTo>
                <a:lnTo>
                  <a:pt x="0" y="32096"/>
                </a:lnTo>
                <a:cubicBezTo>
                  <a:pt x="0" y="14370"/>
                  <a:pt x="14370" y="0"/>
                  <a:pt x="32097" y="0"/>
                </a:cubicBezTo>
                <a:close/>
              </a:path>
            </a:pathLst>
          </a:cu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70F30A-73BA-47C7-B3A6-BCA4363478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0CE61-1446-410F-9E69-E736B404428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EAE6A48F-9386-424B-84E2-3E45C9216548}"/>
              </a:ext>
            </a:extLst>
          </p:cNvPr>
          <p:cNvSpPr/>
          <p:nvPr/>
        </p:nvSpPr>
        <p:spPr>
          <a:xfrm rot="5400000">
            <a:off x="6549191" y="605591"/>
            <a:ext cx="4451682" cy="6833937"/>
          </a:xfrm>
          <a:prstGeom prst="round2SameRect">
            <a:avLst>
              <a:gd name="adj1" fmla="val 0"/>
              <a:gd name="adj2" fmla="val 721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70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2B3AE933-857B-4C1D-A656-45D964859B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3029618"/>
              </p:ext>
            </p:extLst>
          </p:nvPr>
        </p:nvGraphicFramePr>
        <p:xfrm>
          <a:off x="5823282" y="2181727"/>
          <a:ext cx="5835317" cy="3922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E52664F-0DBD-4B82-9D93-AADF58184C2A}"/>
              </a:ext>
            </a:extLst>
          </p:cNvPr>
          <p:cNvSpPr/>
          <p:nvPr/>
        </p:nvSpPr>
        <p:spPr>
          <a:xfrm>
            <a:off x="5823284" y="1524000"/>
            <a:ext cx="5835316" cy="5133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0745A98-F628-4915-8A76-A00C6C27B292}"/>
              </a:ext>
            </a:extLst>
          </p:cNvPr>
          <p:cNvGrpSpPr/>
          <p:nvPr/>
        </p:nvGrpSpPr>
        <p:grpSpPr>
          <a:xfrm>
            <a:off x="533400" y="1792147"/>
            <a:ext cx="510540" cy="533959"/>
            <a:chOff x="3390900" y="5051425"/>
            <a:chExt cx="346075" cy="361950"/>
          </a:xfrm>
          <a:solidFill>
            <a:schemeClr val="accent2"/>
          </a:solidFill>
        </p:grpSpPr>
        <p:sp>
          <p:nvSpPr>
            <p:cNvPr id="16" name="Freeform 1554">
              <a:extLst>
                <a:ext uri="{FF2B5EF4-FFF2-40B4-BE49-F238E27FC236}">
                  <a16:creationId xmlns:a16="http://schemas.microsoft.com/office/drawing/2014/main" id="{2F212F0A-B062-4D1C-80A7-FA4FB49B9C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0900" y="5051425"/>
              <a:ext cx="346075" cy="60325"/>
            </a:xfrm>
            <a:custGeom>
              <a:avLst/>
              <a:gdLst>
                <a:gd name="T0" fmla="*/ 90 w 92"/>
                <a:gd name="T1" fmla="*/ 16 h 16"/>
                <a:gd name="T2" fmla="*/ 2 w 92"/>
                <a:gd name="T3" fmla="*/ 16 h 16"/>
                <a:gd name="T4" fmla="*/ 0 w 92"/>
                <a:gd name="T5" fmla="*/ 14 h 16"/>
                <a:gd name="T6" fmla="*/ 0 w 92"/>
                <a:gd name="T7" fmla="*/ 2 h 16"/>
                <a:gd name="T8" fmla="*/ 2 w 92"/>
                <a:gd name="T9" fmla="*/ 0 h 16"/>
                <a:gd name="T10" fmla="*/ 90 w 92"/>
                <a:gd name="T11" fmla="*/ 0 h 16"/>
                <a:gd name="T12" fmla="*/ 92 w 92"/>
                <a:gd name="T13" fmla="*/ 2 h 16"/>
                <a:gd name="T14" fmla="*/ 92 w 92"/>
                <a:gd name="T15" fmla="*/ 14 h 16"/>
                <a:gd name="T16" fmla="*/ 90 w 92"/>
                <a:gd name="T17" fmla="*/ 16 h 16"/>
                <a:gd name="T18" fmla="*/ 4 w 92"/>
                <a:gd name="T19" fmla="*/ 12 h 16"/>
                <a:gd name="T20" fmla="*/ 88 w 92"/>
                <a:gd name="T21" fmla="*/ 12 h 16"/>
                <a:gd name="T22" fmla="*/ 88 w 92"/>
                <a:gd name="T23" fmla="*/ 4 h 16"/>
                <a:gd name="T24" fmla="*/ 4 w 92"/>
                <a:gd name="T25" fmla="*/ 4 h 16"/>
                <a:gd name="T26" fmla="*/ 4 w 92"/>
                <a:gd name="T2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6">
                  <a:moveTo>
                    <a:pt x="90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5"/>
                    <a:pt x="91" y="16"/>
                    <a:pt x="90" y="16"/>
                  </a:cubicBezTo>
                  <a:close/>
                  <a:moveTo>
                    <a:pt x="4" y="12"/>
                  </a:moveTo>
                  <a:cubicBezTo>
                    <a:pt x="88" y="12"/>
                    <a:pt x="88" y="12"/>
                    <a:pt x="88" y="12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1555">
              <a:extLst>
                <a:ext uri="{FF2B5EF4-FFF2-40B4-BE49-F238E27FC236}">
                  <a16:creationId xmlns:a16="http://schemas.microsoft.com/office/drawing/2014/main" id="{96233C1D-A39F-4F4D-8FE7-94BC838DA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5307013"/>
              <a:ext cx="346075" cy="15875"/>
            </a:xfrm>
            <a:custGeom>
              <a:avLst/>
              <a:gdLst>
                <a:gd name="T0" fmla="*/ 90 w 92"/>
                <a:gd name="T1" fmla="*/ 4 h 4"/>
                <a:gd name="T2" fmla="*/ 2 w 92"/>
                <a:gd name="T3" fmla="*/ 4 h 4"/>
                <a:gd name="T4" fmla="*/ 0 w 92"/>
                <a:gd name="T5" fmla="*/ 2 h 4"/>
                <a:gd name="T6" fmla="*/ 2 w 92"/>
                <a:gd name="T7" fmla="*/ 0 h 4"/>
                <a:gd name="T8" fmla="*/ 90 w 92"/>
                <a:gd name="T9" fmla="*/ 0 h 4"/>
                <a:gd name="T10" fmla="*/ 92 w 92"/>
                <a:gd name="T11" fmla="*/ 2 h 4"/>
                <a:gd name="T12" fmla="*/ 90 w 9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4">
                  <a:moveTo>
                    <a:pt x="9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3"/>
                    <a:pt x="91" y="4"/>
                    <a:pt x="9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556">
              <a:extLst>
                <a:ext uri="{FF2B5EF4-FFF2-40B4-BE49-F238E27FC236}">
                  <a16:creationId xmlns:a16="http://schemas.microsoft.com/office/drawing/2014/main" id="{B6740E2C-6949-4A02-BB07-D69D53EB36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1063" y="5097463"/>
              <a:ext cx="285750" cy="225425"/>
            </a:xfrm>
            <a:custGeom>
              <a:avLst/>
              <a:gdLst>
                <a:gd name="T0" fmla="*/ 74 w 76"/>
                <a:gd name="T1" fmla="*/ 60 h 60"/>
                <a:gd name="T2" fmla="*/ 2 w 76"/>
                <a:gd name="T3" fmla="*/ 60 h 60"/>
                <a:gd name="T4" fmla="*/ 0 w 76"/>
                <a:gd name="T5" fmla="*/ 58 h 60"/>
                <a:gd name="T6" fmla="*/ 0 w 76"/>
                <a:gd name="T7" fmla="*/ 2 h 60"/>
                <a:gd name="T8" fmla="*/ 2 w 76"/>
                <a:gd name="T9" fmla="*/ 0 h 60"/>
                <a:gd name="T10" fmla="*/ 74 w 76"/>
                <a:gd name="T11" fmla="*/ 0 h 60"/>
                <a:gd name="T12" fmla="*/ 76 w 76"/>
                <a:gd name="T13" fmla="*/ 2 h 60"/>
                <a:gd name="T14" fmla="*/ 76 w 76"/>
                <a:gd name="T15" fmla="*/ 58 h 60"/>
                <a:gd name="T16" fmla="*/ 74 w 76"/>
                <a:gd name="T17" fmla="*/ 60 h 60"/>
                <a:gd name="T18" fmla="*/ 4 w 76"/>
                <a:gd name="T19" fmla="*/ 56 h 60"/>
                <a:gd name="T20" fmla="*/ 72 w 76"/>
                <a:gd name="T21" fmla="*/ 56 h 60"/>
                <a:gd name="T22" fmla="*/ 72 w 76"/>
                <a:gd name="T23" fmla="*/ 4 h 60"/>
                <a:gd name="T24" fmla="*/ 4 w 76"/>
                <a:gd name="T25" fmla="*/ 4 h 60"/>
                <a:gd name="T26" fmla="*/ 4 w 76"/>
                <a:gd name="T27" fmla="*/ 5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60">
                  <a:moveTo>
                    <a:pt x="74" y="60"/>
                  </a:move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59"/>
                    <a:pt x="0" y="5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6" y="1"/>
                    <a:pt x="76" y="2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9"/>
                    <a:pt x="75" y="60"/>
                    <a:pt x="74" y="60"/>
                  </a:cubicBezTo>
                  <a:close/>
                  <a:moveTo>
                    <a:pt x="4" y="56"/>
                  </a:moveTo>
                  <a:cubicBezTo>
                    <a:pt x="72" y="56"/>
                    <a:pt x="72" y="56"/>
                    <a:pt x="72" y="56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Rectangle 1557">
              <a:extLst>
                <a:ext uri="{FF2B5EF4-FFF2-40B4-BE49-F238E27FC236}">
                  <a16:creationId xmlns:a16="http://schemas.microsoft.com/office/drawing/2014/main" id="{98B44610-AFA9-466F-A32A-C037B73BAA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7588" y="5314950"/>
              <a:ext cx="14288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1558">
              <a:extLst>
                <a:ext uri="{FF2B5EF4-FFF2-40B4-BE49-F238E27FC236}">
                  <a16:creationId xmlns:a16="http://schemas.microsoft.com/office/drawing/2014/main" id="{6679A5BE-A63D-4B70-A49B-0402B41ABF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3775" y="5353050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1559">
              <a:extLst>
                <a:ext uri="{FF2B5EF4-FFF2-40B4-BE49-F238E27FC236}">
                  <a16:creationId xmlns:a16="http://schemas.microsoft.com/office/drawing/2014/main" id="{409A466B-9C6E-48A9-B6B3-58B3D558DD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1388" y="5187950"/>
              <a:ext cx="46038" cy="104775"/>
            </a:xfrm>
            <a:custGeom>
              <a:avLst/>
              <a:gdLst>
                <a:gd name="T0" fmla="*/ 10 w 12"/>
                <a:gd name="T1" fmla="*/ 28 h 28"/>
                <a:gd name="T2" fmla="*/ 2 w 12"/>
                <a:gd name="T3" fmla="*/ 28 h 28"/>
                <a:gd name="T4" fmla="*/ 0 w 12"/>
                <a:gd name="T5" fmla="*/ 26 h 28"/>
                <a:gd name="T6" fmla="*/ 0 w 12"/>
                <a:gd name="T7" fmla="*/ 2 h 28"/>
                <a:gd name="T8" fmla="*/ 2 w 12"/>
                <a:gd name="T9" fmla="*/ 0 h 28"/>
                <a:gd name="T10" fmla="*/ 10 w 12"/>
                <a:gd name="T11" fmla="*/ 0 h 28"/>
                <a:gd name="T12" fmla="*/ 12 w 12"/>
                <a:gd name="T13" fmla="*/ 2 h 28"/>
                <a:gd name="T14" fmla="*/ 12 w 12"/>
                <a:gd name="T15" fmla="*/ 26 h 28"/>
                <a:gd name="T16" fmla="*/ 10 w 12"/>
                <a:gd name="T17" fmla="*/ 28 h 28"/>
                <a:gd name="T18" fmla="*/ 4 w 12"/>
                <a:gd name="T19" fmla="*/ 24 h 28"/>
                <a:gd name="T20" fmla="*/ 8 w 12"/>
                <a:gd name="T21" fmla="*/ 24 h 28"/>
                <a:gd name="T22" fmla="*/ 8 w 12"/>
                <a:gd name="T23" fmla="*/ 4 h 28"/>
                <a:gd name="T24" fmla="*/ 4 w 12"/>
                <a:gd name="T25" fmla="*/ 4 h 28"/>
                <a:gd name="T26" fmla="*/ 4 w 12"/>
                <a:gd name="T2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10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7"/>
                    <a:pt x="11" y="28"/>
                    <a:pt x="10" y="28"/>
                  </a:cubicBezTo>
                  <a:close/>
                  <a:moveTo>
                    <a:pt x="4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1560">
              <a:extLst>
                <a:ext uri="{FF2B5EF4-FFF2-40B4-BE49-F238E27FC236}">
                  <a16:creationId xmlns:a16="http://schemas.microsoft.com/office/drawing/2014/main" id="{E723F4D6-08FE-4284-8311-963A96D4EE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1713" y="5218113"/>
              <a:ext cx="44450" cy="74613"/>
            </a:xfrm>
            <a:custGeom>
              <a:avLst/>
              <a:gdLst>
                <a:gd name="T0" fmla="*/ 10 w 12"/>
                <a:gd name="T1" fmla="*/ 20 h 20"/>
                <a:gd name="T2" fmla="*/ 2 w 12"/>
                <a:gd name="T3" fmla="*/ 20 h 20"/>
                <a:gd name="T4" fmla="*/ 0 w 12"/>
                <a:gd name="T5" fmla="*/ 18 h 20"/>
                <a:gd name="T6" fmla="*/ 0 w 12"/>
                <a:gd name="T7" fmla="*/ 2 h 20"/>
                <a:gd name="T8" fmla="*/ 2 w 12"/>
                <a:gd name="T9" fmla="*/ 0 h 20"/>
                <a:gd name="T10" fmla="*/ 10 w 12"/>
                <a:gd name="T11" fmla="*/ 0 h 20"/>
                <a:gd name="T12" fmla="*/ 12 w 12"/>
                <a:gd name="T13" fmla="*/ 2 h 20"/>
                <a:gd name="T14" fmla="*/ 12 w 12"/>
                <a:gd name="T15" fmla="*/ 18 h 20"/>
                <a:gd name="T16" fmla="*/ 10 w 12"/>
                <a:gd name="T17" fmla="*/ 20 h 20"/>
                <a:gd name="T18" fmla="*/ 4 w 12"/>
                <a:gd name="T19" fmla="*/ 16 h 20"/>
                <a:gd name="T20" fmla="*/ 8 w 12"/>
                <a:gd name="T21" fmla="*/ 16 h 20"/>
                <a:gd name="T22" fmla="*/ 8 w 12"/>
                <a:gd name="T23" fmla="*/ 4 h 20"/>
                <a:gd name="T24" fmla="*/ 4 w 12"/>
                <a:gd name="T25" fmla="*/ 4 h 20"/>
                <a:gd name="T26" fmla="*/ 4 w 12"/>
                <a:gd name="T27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0">
                  <a:moveTo>
                    <a:pt x="10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1" y="20"/>
                    <a:pt x="10" y="20"/>
                  </a:cubicBezTo>
                  <a:close/>
                  <a:moveTo>
                    <a:pt x="4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561">
              <a:extLst>
                <a:ext uri="{FF2B5EF4-FFF2-40B4-BE49-F238E27FC236}">
                  <a16:creationId xmlns:a16="http://schemas.microsoft.com/office/drawing/2014/main" id="{6BB7F338-4C51-4924-8F74-A14E19F7F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2038" y="5127625"/>
              <a:ext cx="44450" cy="165100"/>
            </a:xfrm>
            <a:custGeom>
              <a:avLst/>
              <a:gdLst>
                <a:gd name="T0" fmla="*/ 10 w 12"/>
                <a:gd name="T1" fmla="*/ 44 h 44"/>
                <a:gd name="T2" fmla="*/ 2 w 12"/>
                <a:gd name="T3" fmla="*/ 44 h 44"/>
                <a:gd name="T4" fmla="*/ 0 w 12"/>
                <a:gd name="T5" fmla="*/ 42 h 44"/>
                <a:gd name="T6" fmla="*/ 0 w 12"/>
                <a:gd name="T7" fmla="*/ 2 h 44"/>
                <a:gd name="T8" fmla="*/ 2 w 12"/>
                <a:gd name="T9" fmla="*/ 0 h 44"/>
                <a:gd name="T10" fmla="*/ 10 w 12"/>
                <a:gd name="T11" fmla="*/ 0 h 44"/>
                <a:gd name="T12" fmla="*/ 12 w 12"/>
                <a:gd name="T13" fmla="*/ 2 h 44"/>
                <a:gd name="T14" fmla="*/ 12 w 12"/>
                <a:gd name="T15" fmla="*/ 42 h 44"/>
                <a:gd name="T16" fmla="*/ 10 w 12"/>
                <a:gd name="T17" fmla="*/ 44 h 44"/>
                <a:gd name="T18" fmla="*/ 4 w 12"/>
                <a:gd name="T19" fmla="*/ 40 h 44"/>
                <a:gd name="T20" fmla="*/ 8 w 12"/>
                <a:gd name="T21" fmla="*/ 40 h 44"/>
                <a:gd name="T22" fmla="*/ 8 w 12"/>
                <a:gd name="T23" fmla="*/ 4 h 44"/>
                <a:gd name="T24" fmla="*/ 4 w 12"/>
                <a:gd name="T25" fmla="*/ 4 h 44"/>
                <a:gd name="T26" fmla="*/ 4 w 12"/>
                <a:gd name="T27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44">
                  <a:moveTo>
                    <a:pt x="10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3"/>
                    <a:pt x="11" y="44"/>
                    <a:pt x="10" y="44"/>
                  </a:cubicBezTo>
                  <a:close/>
                  <a:moveTo>
                    <a:pt x="4" y="40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1562">
              <a:extLst>
                <a:ext uri="{FF2B5EF4-FFF2-40B4-BE49-F238E27FC236}">
                  <a16:creationId xmlns:a16="http://schemas.microsoft.com/office/drawing/2014/main" id="{BCA691FD-8987-41EE-B8D0-EAEDE9B1B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25" y="5127625"/>
              <a:ext cx="225425" cy="165100"/>
            </a:xfrm>
            <a:custGeom>
              <a:avLst/>
              <a:gdLst>
                <a:gd name="T0" fmla="*/ 58 w 60"/>
                <a:gd name="T1" fmla="*/ 44 h 44"/>
                <a:gd name="T2" fmla="*/ 2 w 60"/>
                <a:gd name="T3" fmla="*/ 44 h 44"/>
                <a:gd name="T4" fmla="*/ 0 w 60"/>
                <a:gd name="T5" fmla="*/ 42 h 44"/>
                <a:gd name="T6" fmla="*/ 0 w 60"/>
                <a:gd name="T7" fmla="*/ 2 h 44"/>
                <a:gd name="T8" fmla="*/ 2 w 60"/>
                <a:gd name="T9" fmla="*/ 0 h 44"/>
                <a:gd name="T10" fmla="*/ 4 w 60"/>
                <a:gd name="T11" fmla="*/ 2 h 44"/>
                <a:gd name="T12" fmla="*/ 4 w 60"/>
                <a:gd name="T13" fmla="*/ 40 h 44"/>
                <a:gd name="T14" fmla="*/ 58 w 60"/>
                <a:gd name="T15" fmla="*/ 40 h 44"/>
                <a:gd name="T16" fmla="*/ 60 w 60"/>
                <a:gd name="T17" fmla="*/ 42 h 44"/>
                <a:gd name="T18" fmla="*/ 58 w 60"/>
                <a:gd name="T1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44">
                  <a:moveTo>
                    <a:pt x="58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9" y="40"/>
                    <a:pt x="60" y="41"/>
                    <a:pt x="60" y="42"/>
                  </a:cubicBezTo>
                  <a:cubicBezTo>
                    <a:pt x="60" y="43"/>
                    <a:pt x="59" y="44"/>
                    <a:pt x="58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DCEE168-74FE-4520-9B9A-4856487FDC86}"/>
              </a:ext>
            </a:extLst>
          </p:cNvPr>
          <p:cNvCxnSpPr/>
          <p:nvPr/>
        </p:nvCxnSpPr>
        <p:spPr>
          <a:xfrm>
            <a:off x="1196340" y="2179320"/>
            <a:ext cx="386334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21982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61EE73-D0B1-4DE0-BF3F-ED4BA8F6E1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175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48C1918-18D8-4991-9B92-39488C095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8" name="Picture 27" descr="A computer sitting on top of a table&#10;&#10;Description automatically generated">
            <a:extLst>
              <a:ext uri="{FF2B5EF4-FFF2-40B4-BE49-F238E27FC236}">
                <a16:creationId xmlns:a16="http://schemas.microsoft.com/office/drawing/2014/main" id="{D2397D89-9E1D-4D5C-B158-6635C4EB7AE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" t="26217" b="31926"/>
          <a:stretch/>
        </p:blipFill>
        <p:spPr>
          <a:xfrm>
            <a:off x="0" y="2872596"/>
            <a:ext cx="12192000" cy="340648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BF4AA5-4167-4ACA-8748-63FD2C6F3C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C080C2-C505-42EF-8753-30AD998D4C6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C0FB1A-902D-46A1-8739-7D4012934249}"/>
              </a:ext>
            </a:extLst>
          </p:cNvPr>
          <p:cNvSpPr/>
          <p:nvPr/>
        </p:nvSpPr>
        <p:spPr>
          <a:xfrm>
            <a:off x="0" y="2872596"/>
            <a:ext cx="12192000" cy="3406483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75000"/>
                  <a:lumOff val="25000"/>
                  <a:alpha val="70000"/>
                </a:schemeClr>
              </a:gs>
              <a:gs pos="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AA6AB9C-BA07-46C7-9A69-1D675C853AB4}"/>
              </a:ext>
            </a:extLst>
          </p:cNvPr>
          <p:cNvGrpSpPr/>
          <p:nvPr/>
        </p:nvGrpSpPr>
        <p:grpSpPr>
          <a:xfrm>
            <a:off x="4245810" y="4348149"/>
            <a:ext cx="3716421" cy="1595451"/>
            <a:chOff x="4245810" y="-1106905"/>
            <a:chExt cx="3716421" cy="9288379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13E1483-8F60-4A38-AC21-D56086AA0B83}"/>
                </a:ext>
              </a:extLst>
            </p:cNvPr>
            <p:cNvCxnSpPr/>
            <p:nvPr/>
          </p:nvCxnSpPr>
          <p:spPr>
            <a:xfrm>
              <a:off x="4245810" y="-1106905"/>
              <a:ext cx="0" cy="9288379"/>
            </a:xfrm>
            <a:prstGeom prst="line">
              <a:avLst/>
            </a:prstGeom>
            <a:ln>
              <a:solidFill>
                <a:schemeClr val="bg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505B3EC-8DC1-4375-9B05-B89A98CDF28A}"/>
                </a:ext>
              </a:extLst>
            </p:cNvPr>
            <p:cNvCxnSpPr/>
            <p:nvPr/>
          </p:nvCxnSpPr>
          <p:spPr>
            <a:xfrm>
              <a:off x="7962231" y="-1106905"/>
              <a:ext cx="0" cy="9288379"/>
            </a:xfrm>
            <a:prstGeom prst="line">
              <a:avLst/>
            </a:prstGeom>
            <a:ln>
              <a:solidFill>
                <a:schemeClr val="bg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CD930276-4BB3-4CC3-BFD2-4D9E44FEECD9}"/>
              </a:ext>
            </a:extLst>
          </p:cNvPr>
          <p:cNvSpPr/>
          <p:nvPr/>
        </p:nvSpPr>
        <p:spPr>
          <a:xfrm>
            <a:off x="1168400" y="1653396"/>
            <a:ext cx="2438400" cy="2438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57C1F42-1C3B-4E04-80B6-1F5E61AE541F}"/>
              </a:ext>
            </a:extLst>
          </p:cNvPr>
          <p:cNvSpPr/>
          <p:nvPr/>
        </p:nvSpPr>
        <p:spPr>
          <a:xfrm>
            <a:off x="4884821" y="1653396"/>
            <a:ext cx="2438400" cy="2438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D57A938-9D32-40B5-82E2-398C9590AEE6}"/>
              </a:ext>
            </a:extLst>
          </p:cNvPr>
          <p:cNvSpPr/>
          <p:nvPr/>
        </p:nvSpPr>
        <p:spPr>
          <a:xfrm>
            <a:off x="8601241" y="1653396"/>
            <a:ext cx="2438400" cy="2438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A4E7E225-29EB-46C5-B366-B5AF98EB18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9867761"/>
              </p:ext>
            </p:extLst>
          </p:nvPr>
        </p:nvGraphicFramePr>
        <p:xfrm>
          <a:off x="625231" y="1740518"/>
          <a:ext cx="3514377" cy="2342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ED56B3A2-9010-4259-B772-7240BCEDF8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3033617"/>
              </p:ext>
            </p:extLst>
          </p:nvPr>
        </p:nvGraphicFramePr>
        <p:xfrm>
          <a:off x="4349506" y="1740518"/>
          <a:ext cx="3514377" cy="2342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BD1EDE8-E73B-4E63-B365-9ABFFBC436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4518754"/>
              </p:ext>
            </p:extLst>
          </p:nvPr>
        </p:nvGraphicFramePr>
        <p:xfrm>
          <a:off x="8079678" y="1740518"/>
          <a:ext cx="3514377" cy="2342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Oval 19">
            <a:extLst>
              <a:ext uri="{FF2B5EF4-FFF2-40B4-BE49-F238E27FC236}">
                <a16:creationId xmlns:a16="http://schemas.microsoft.com/office/drawing/2014/main" id="{D4135FD0-4C6F-47F4-B5FB-69BE8BCF67E0}"/>
              </a:ext>
            </a:extLst>
          </p:cNvPr>
          <p:cNvSpPr/>
          <p:nvPr/>
        </p:nvSpPr>
        <p:spPr>
          <a:xfrm>
            <a:off x="1625600" y="2149977"/>
            <a:ext cx="1524000" cy="1524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5%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A75768A-AB30-47DD-ACFD-A179826385AA}"/>
              </a:ext>
            </a:extLst>
          </p:cNvPr>
          <p:cNvSpPr/>
          <p:nvPr/>
        </p:nvSpPr>
        <p:spPr>
          <a:xfrm>
            <a:off x="5334000" y="2149977"/>
            <a:ext cx="1524000" cy="1524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5%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6654FAF-7A31-47CF-B495-6C195E765937}"/>
              </a:ext>
            </a:extLst>
          </p:cNvPr>
          <p:cNvSpPr/>
          <p:nvPr/>
        </p:nvSpPr>
        <p:spPr>
          <a:xfrm>
            <a:off x="9074866" y="2149977"/>
            <a:ext cx="1524000" cy="1524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0%</a:t>
            </a:r>
          </a:p>
        </p:txBody>
      </p:sp>
    </p:spTree>
    <p:extLst>
      <p:ext uri="{BB962C8B-B14F-4D97-AF65-F5344CB8AC3E}">
        <p14:creationId xmlns:p14="http://schemas.microsoft.com/office/powerpoint/2010/main" val="2502589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..NrhNaFKAvCgXKvIL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LUg_4ehIzMA7MHHgv59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jbgRiIQbGZuIwiLfv6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CdBHdVtLMTeNq6qS.B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OAoHTkjO89w3ZltDC7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BUM0VovDTFNT4Hv651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QDplMbAZPZmukVBHQ6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qOAwd6U7ODDGQ9hBf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9P20unXsyjIziB.CRN3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0eVP_r32znyRzdBaW5Nw"/>
</p:tagLst>
</file>

<file path=ppt/theme/theme1.xml><?xml version="1.0" encoding="utf-8"?>
<a:theme xmlns:a="http://schemas.openxmlformats.org/drawingml/2006/main" name="Office Theme">
  <a:themeElements>
    <a:clrScheme name="Deloi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0000"/>
      </a:accent1>
      <a:accent2>
        <a:srgbClr val="85BB24"/>
      </a:accent2>
      <a:accent3>
        <a:srgbClr val="D8D9D8"/>
      </a:accent3>
      <a:accent4>
        <a:srgbClr val="FEFFFE"/>
      </a:accent4>
      <a:accent5>
        <a:srgbClr val="FEFFFE"/>
      </a:accent5>
      <a:accent6>
        <a:srgbClr val="FEFFFE"/>
      </a:accent6>
      <a:hlink>
        <a:srgbClr val="85BB24"/>
      </a:hlink>
      <a:folHlink>
        <a:srgbClr val="85BB2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78</TotalTime>
  <Words>210</Words>
  <Application>Microsoft Office PowerPoint</Application>
  <PresentationFormat>Panorámica</PresentationFormat>
  <Paragraphs>46</Paragraphs>
  <Slides>13</Slides>
  <Notes>11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0" baseType="lpstr">
      <vt:lpstr>Arial</vt:lpstr>
      <vt:lpstr>Calibri</vt:lpstr>
      <vt:lpstr>Georgia</vt:lpstr>
      <vt:lpstr>Segoe UI</vt:lpstr>
      <vt:lpstr>Segoe UI Light</vt:lpstr>
      <vt:lpstr>Office Them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Bright view of the future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JOSÉ MARÍA FERNÁNDEZ GÓMEZ</cp:lastModifiedBy>
  <cp:revision>202</cp:revision>
  <dcterms:created xsi:type="dcterms:W3CDTF">2019-08-16T12:08:31Z</dcterms:created>
  <dcterms:modified xsi:type="dcterms:W3CDTF">2024-11-18T17:18:33Z</dcterms:modified>
</cp:coreProperties>
</file>